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34"/>
  </p:notesMasterIdLst>
  <p:handoutMasterIdLst>
    <p:handoutMasterId r:id="rId35"/>
  </p:handoutMasterIdLst>
  <p:sldIdLst>
    <p:sldId id="1072" r:id="rId5"/>
    <p:sldId id="455" r:id="rId6"/>
    <p:sldId id="1040" r:id="rId7"/>
    <p:sldId id="1060" r:id="rId8"/>
    <p:sldId id="1047" r:id="rId9"/>
    <p:sldId id="1044" r:id="rId10"/>
    <p:sldId id="1052" r:id="rId11"/>
    <p:sldId id="1051" r:id="rId12"/>
    <p:sldId id="1056" r:id="rId13"/>
    <p:sldId id="1038" r:id="rId14"/>
    <p:sldId id="1061" r:id="rId15"/>
    <p:sldId id="1045" r:id="rId16"/>
    <p:sldId id="1069" r:id="rId17"/>
    <p:sldId id="1059" r:id="rId18"/>
    <p:sldId id="1041" r:id="rId19"/>
    <p:sldId id="1070" r:id="rId20"/>
    <p:sldId id="259" r:id="rId21"/>
    <p:sldId id="261" r:id="rId22"/>
    <p:sldId id="262" r:id="rId23"/>
    <p:sldId id="260" r:id="rId24"/>
    <p:sldId id="1071" r:id="rId25"/>
    <p:sldId id="1074" r:id="rId26"/>
    <p:sldId id="1054" r:id="rId27"/>
    <p:sldId id="1073" r:id="rId28"/>
    <p:sldId id="1043" r:id="rId29"/>
    <p:sldId id="1039" r:id="rId30"/>
    <p:sldId id="1012" r:id="rId31"/>
    <p:sldId id="1064" r:id="rId32"/>
    <p:sldId id="464" r:id="rId33"/>
  </p:sldIdLst>
  <p:sldSz cx="12192000" cy="6858000"/>
  <p:notesSz cx="6797675" cy="9926638"/>
  <p:custShowLst>
    <p:custShow name="Format Guide Workshop" id="0">
      <p:sldLst/>
    </p:custShow>
  </p:custShowLst>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2718347-DCD8-4B0C-9BB7-DA32EA33FAC5}">
          <p14:sldIdLst>
            <p14:sldId id="1072"/>
            <p14:sldId id="455"/>
            <p14:sldId id="1040"/>
            <p14:sldId id="1060"/>
            <p14:sldId id="1047"/>
            <p14:sldId id="1044"/>
            <p14:sldId id="1052"/>
            <p14:sldId id="1051"/>
            <p14:sldId id="1056"/>
            <p14:sldId id="1038"/>
            <p14:sldId id="1061"/>
            <p14:sldId id="1045"/>
            <p14:sldId id="1069"/>
            <p14:sldId id="1059"/>
            <p14:sldId id="1041"/>
            <p14:sldId id="1070"/>
            <p14:sldId id="259"/>
            <p14:sldId id="261"/>
            <p14:sldId id="262"/>
            <p14:sldId id="260"/>
            <p14:sldId id="1071"/>
            <p14:sldId id="1074"/>
            <p14:sldId id="1054"/>
            <p14:sldId id="1073"/>
            <p14:sldId id="1043"/>
            <p14:sldId id="1039"/>
            <p14:sldId id="1012"/>
            <p14:sldId id="1064"/>
            <p14:sldId id="464"/>
          </p14:sldIdLst>
        </p14:section>
      </p14:sectionLst>
    </p:ext>
    <p:ext uri="{EFAFB233-063F-42B5-8137-9DF3F51BA10A}">
      <p15:sldGuideLst xmlns:p15="http://schemas.microsoft.com/office/powerpoint/2012/main">
        <p15:guide id="1" orient="horz" pos="1933" userDrawn="1">
          <p15:clr>
            <a:srgbClr val="A4A3A4"/>
          </p15:clr>
        </p15:guide>
        <p15:guide id="2" pos="3727" userDrawn="1">
          <p15:clr>
            <a:srgbClr val="A4A3A4"/>
          </p15:clr>
        </p15:guide>
        <p15:guide id="3" pos="5518" userDrawn="1">
          <p15:clr>
            <a:srgbClr val="A4A3A4"/>
          </p15:clr>
        </p15:guide>
        <p15:guide id="4" pos="4520" userDrawn="1">
          <p15:clr>
            <a:srgbClr val="A4A3A4"/>
          </p15:clr>
        </p15:guide>
        <p15:guide id="5" orient="horz" pos="2591" userDrawn="1">
          <p15:clr>
            <a:srgbClr val="A4A3A4"/>
          </p15:clr>
        </p15:guide>
        <p15:guide id="6" orient="horz" pos="4315" userDrawn="1">
          <p15:clr>
            <a:srgbClr val="A4A3A4"/>
          </p15:clr>
        </p15:guide>
        <p15:guide id="7" pos="4316" userDrawn="1">
          <p15:clr>
            <a:srgbClr val="A4A3A4"/>
          </p15:clr>
        </p15:guide>
        <p15:guide id="8" orient="horz" pos="1457" userDrawn="1">
          <p15:clr>
            <a:srgbClr val="A4A3A4"/>
          </p15:clr>
        </p15:guide>
        <p15:guide id="10" pos="59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il" initials="D" lastIdx="1" clrIdx="0">
    <p:extLst>
      <p:ext uri="{19B8F6BF-5375-455C-9EA6-DF929625EA0E}">
        <p15:presenceInfo xmlns:p15="http://schemas.microsoft.com/office/powerpoint/2012/main" userId="0d596565d8d17a45" providerId="Windows Live"/>
      </p:ext>
    </p:extLst>
  </p:cmAuthor>
  <p:cmAuthor id="2" name="Doménique" initials="D" lastIdx="1" clrIdx="1">
    <p:extLst>
      <p:ext uri="{19B8F6BF-5375-455C-9EA6-DF929625EA0E}">
        <p15:presenceInfo xmlns:p15="http://schemas.microsoft.com/office/powerpoint/2012/main" userId="Doménique" providerId="None"/>
      </p:ext>
    </p:extLst>
  </p:cmAuthor>
  <p:cmAuthor id="3" name="uqegs" initials="u" lastIdx="1" clrIdx="2">
    <p:extLst>
      <p:ext uri="{19B8F6BF-5375-455C-9EA6-DF929625EA0E}">
        <p15:presenceInfo xmlns:p15="http://schemas.microsoft.com/office/powerpoint/2012/main" userId="uqegs" providerId="None"/>
      </p:ext>
    </p:extLst>
  </p:cmAuthor>
  <p:cmAuthor id="4" name="Loy, Johannes Leopold" initials="LJL" lastIdx="2" clrIdx="3">
    <p:extLst>
      <p:ext uri="{19B8F6BF-5375-455C-9EA6-DF929625EA0E}">
        <p15:presenceInfo xmlns:p15="http://schemas.microsoft.com/office/powerpoint/2012/main" userId="Loy, Johannes Leopol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8C7A"/>
    <a:srgbClr val="009682"/>
    <a:srgbClr val="0F907C"/>
    <a:srgbClr val="FFFFFF"/>
    <a:srgbClr val="9A9A9A"/>
    <a:srgbClr val="F2F2F2"/>
    <a:srgbClr val="1196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102215-8B6D-4380-8009-822541669133}" v="2274" dt="2021-07-22T20:41:54.627"/>
    <p1510:client id="{341241CB-D633-4FCF-974C-DC8CFFCF5146}" v="5" dt="2021-07-22T21:06:15.198"/>
    <p1510:client id="{3D206D0D-6F94-4604-BB90-7FD926C076F3}" v="81" dt="2021-07-22T12:45:04.173"/>
    <p1510:client id="{4C796A96-596C-4B1B-8DF6-7444FBDF4C0C}" v="7" dt="2021-07-22T12:13:09.971"/>
    <p1510:client id="{76D240AC-C30B-4B5D-81D8-0896A0E9D5FA}" v="4" dt="2021-07-22T13:31:40.296"/>
    <p1510:client id="{8E785D0A-BE12-4ED3-AA43-D88F9395DFAC}" v="1" dt="2021-07-22T13:10:20.332"/>
    <p1510:client id="{9359464E-4B6C-4420-B464-7FB492F988CA}" v="20" dt="2021-07-22T13:26:36.543"/>
    <p1510:client id="{B6A259E1-09F2-4032-B749-76E6F5C2DA10}" v="2678" vWet="2680" dt="2021-07-22T20:26:51.361"/>
    <p1510:client id="{D624A825-C3D0-4CB5-935D-3FB05B98BAA9}" v="81" dt="2021-07-22T21:19:49.830"/>
    <p1510:client id="{DF9044F3-9BB6-44C1-BD77-CFF88625876C}" v="41" dt="2021-07-22T20:47:10.593"/>
    <p1510:client id="{F84EC455-FF2D-4383-985F-0BB38346D3B8}" v="28" vWet="29" dt="2021-07-22T19:16:34.1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933"/>
        <p:guide pos="3727"/>
        <p:guide pos="5518"/>
        <p:guide pos="4520"/>
        <p:guide orient="horz" pos="2591"/>
        <p:guide orient="horz" pos="4315"/>
        <p:guide pos="4316"/>
        <p:guide orient="horz" pos="1457"/>
        <p:guide pos="597"/>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notesMaster" Target="notesMasters/notesMaster1.xml"/><Relationship Id="rId42"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43"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hn, Alexander" userId="S::uygeo@student.kit.edu::e6fa5008-0428-489e-9b07-397695ad69a4" providerId="AD" clId="Web-{16335376-421B-42FF-9BF3-E881668D77D5}"/>
    <pc:docChg chg="addSld delSld modSld sldOrd modSection">
      <pc:chgData name="Kuhn, Alexander" userId="S::uygeo@student.kit.edu::e6fa5008-0428-489e-9b07-397695ad69a4" providerId="AD" clId="Web-{16335376-421B-42FF-9BF3-E881668D77D5}" dt="2021-07-21T15:04:57.741" v="509" actId="20577"/>
      <pc:docMkLst>
        <pc:docMk/>
      </pc:docMkLst>
      <pc:sldChg chg="addSp delSp modSp">
        <pc:chgData name="Kuhn, Alexander" userId="S::uygeo@student.kit.edu::e6fa5008-0428-489e-9b07-397695ad69a4" providerId="AD" clId="Web-{16335376-421B-42FF-9BF3-E881668D77D5}" dt="2021-07-21T14:10:06.454" v="9"/>
        <pc:sldMkLst>
          <pc:docMk/>
          <pc:sldMk cId="2181898947" sldId="259"/>
        </pc:sldMkLst>
        <pc:cxnChg chg="add del mod">
          <ac:chgData name="Kuhn, Alexander" userId="S::uygeo@student.kit.edu::e6fa5008-0428-489e-9b07-397695ad69a4" providerId="AD" clId="Web-{16335376-421B-42FF-9BF3-E881668D77D5}" dt="2021-07-21T14:09:59.548" v="8"/>
          <ac:cxnSpMkLst>
            <pc:docMk/>
            <pc:sldMk cId="2181898947" sldId="259"/>
            <ac:cxnSpMk id="4" creationId="{9C85082F-6097-46E1-B0CD-58C125123D2E}"/>
          </ac:cxnSpMkLst>
        </pc:cxnChg>
        <pc:cxnChg chg="add del mod">
          <ac:chgData name="Kuhn, Alexander" userId="S::uygeo@student.kit.edu::e6fa5008-0428-489e-9b07-397695ad69a4" providerId="AD" clId="Web-{16335376-421B-42FF-9BF3-E881668D77D5}" dt="2021-07-21T14:10:06.454" v="9"/>
          <ac:cxnSpMkLst>
            <pc:docMk/>
            <pc:sldMk cId="2181898947" sldId="259"/>
            <ac:cxnSpMk id="12" creationId="{0FE3FA3A-BBC8-45BC-9B2A-D08C04674746}"/>
          </ac:cxnSpMkLst>
        </pc:cxnChg>
      </pc:sldChg>
      <pc:sldChg chg="del">
        <pc:chgData name="Kuhn, Alexander" userId="S::uygeo@student.kit.edu::e6fa5008-0428-489e-9b07-397695ad69a4" providerId="AD" clId="Web-{16335376-421B-42FF-9BF3-E881668D77D5}" dt="2021-07-21T14:44:10.819" v="306"/>
        <pc:sldMkLst>
          <pc:docMk/>
          <pc:sldMk cId="1447459295" sldId="466"/>
        </pc:sldMkLst>
      </pc:sldChg>
      <pc:sldChg chg="modSp ord">
        <pc:chgData name="Kuhn, Alexander" userId="S::uygeo@student.kit.edu::e6fa5008-0428-489e-9b07-397695ad69a4" providerId="AD" clId="Web-{16335376-421B-42FF-9BF3-E881668D77D5}" dt="2021-07-21T14:48:11.544" v="335" actId="20577"/>
        <pc:sldMkLst>
          <pc:docMk/>
          <pc:sldMk cId="948010637" sldId="1012"/>
        </pc:sldMkLst>
        <pc:spChg chg="mod">
          <ac:chgData name="Kuhn, Alexander" userId="S::uygeo@student.kit.edu::e6fa5008-0428-489e-9b07-397695ad69a4" providerId="AD" clId="Web-{16335376-421B-42FF-9BF3-E881668D77D5}" dt="2021-07-21T14:47:58.543" v="333" actId="20577"/>
          <ac:spMkLst>
            <pc:docMk/>
            <pc:sldMk cId="948010637" sldId="1012"/>
            <ac:spMk id="17" creationId="{5F69EF1F-F50C-4B14-B6D0-537B1396717C}"/>
          </ac:spMkLst>
        </pc:spChg>
        <pc:spChg chg="mod">
          <ac:chgData name="Kuhn, Alexander" userId="S::uygeo@student.kit.edu::e6fa5008-0428-489e-9b07-397695ad69a4" providerId="AD" clId="Web-{16335376-421B-42FF-9BF3-E881668D77D5}" dt="2021-07-21T14:48:11.544" v="335" actId="20577"/>
          <ac:spMkLst>
            <pc:docMk/>
            <pc:sldMk cId="948010637" sldId="1012"/>
            <ac:spMk id="18" creationId="{6BCD6841-7808-4F70-B542-6CF30F6D6981}"/>
          </ac:spMkLst>
        </pc:spChg>
      </pc:sldChg>
      <pc:sldChg chg="del">
        <pc:chgData name="Kuhn, Alexander" userId="S::uygeo@student.kit.edu::e6fa5008-0428-489e-9b07-397695ad69a4" providerId="AD" clId="Web-{16335376-421B-42FF-9BF3-E881668D77D5}" dt="2021-07-21T14:49:03.373" v="339"/>
        <pc:sldMkLst>
          <pc:docMk/>
          <pc:sldMk cId="44778095" sldId="1020"/>
        </pc:sldMkLst>
      </pc:sldChg>
      <pc:sldChg chg="del">
        <pc:chgData name="Kuhn, Alexander" userId="S::uygeo@student.kit.edu::e6fa5008-0428-489e-9b07-397695ad69a4" providerId="AD" clId="Web-{16335376-421B-42FF-9BF3-E881668D77D5}" dt="2021-07-21T14:44:12.819" v="308"/>
        <pc:sldMkLst>
          <pc:docMk/>
          <pc:sldMk cId="1143395830" sldId="1029"/>
        </pc:sldMkLst>
      </pc:sldChg>
      <pc:sldChg chg="del">
        <pc:chgData name="Kuhn, Alexander" userId="S::uygeo@student.kit.edu::e6fa5008-0428-489e-9b07-397695ad69a4" providerId="AD" clId="Web-{16335376-421B-42FF-9BF3-E881668D77D5}" dt="2021-07-21T14:44:09.194" v="305"/>
        <pc:sldMkLst>
          <pc:docMk/>
          <pc:sldMk cId="2662807815" sldId="1030"/>
        </pc:sldMkLst>
      </pc:sldChg>
      <pc:sldChg chg="del">
        <pc:chgData name="Kuhn, Alexander" userId="S::uygeo@student.kit.edu::e6fa5008-0428-489e-9b07-397695ad69a4" providerId="AD" clId="Web-{16335376-421B-42FF-9BF3-E881668D77D5}" dt="2021-07-21T14:44:11.913" v="307"/>
        <pc:sldMkLst>
          <pc:docMk/>
          <pc:sldMk cId="1758432664" sldId="1033"/>
        </pc:sldMkLst>
      </pc:sldChg>
      <pc:sldChg chg="del">
        <pc:chgData name="Kuhn, Alexander" userId="S::uygeo@student.kit.edu::e6fa5008-0428-489e-9b07-397695ad69a4" providerId="AD" clId="Web-{16335376-421B-42FF-9BF3-E881668D77D5}" dt="2021-07-21T14:44:13.553" v="309"/>
        <pc:sldMkLst>
          <pc:docMk/>
          <pc:sldMk cId="4111257373" sldId="1035"/>
        </pc:sldMkLst>
      </pc:sldChg>
      <pc:sldChg chg="del">
        <pc:chgData name="Kuhn, Alexander" userId="S::uygeo@student.kit.edu::e6fa5008-0428-489e-9b07-397695ad69a4" providerId="AD" clId="Web-{16335376-421B-42FF-9BF3-E881668D77D5}" dt="2021-07-21T14:49:07.608" v="340"/>
        <pc:sldMkLst>
          <pc:docMk/>
          <pc:sldMk cId="3955446512" sldId="1036"/>
        </pc:sldMkLst>
      </pc:sldChg>
      <pc:sldChg chg="del">
        <pc:chgData name="Kuhn, Alexander" userId="S::uygeo@student.kit.edu::e6fa5008-0428-489e-9b07-397695ad69a4" providerId="AD" clId="Web-{16335376-421B-42FF-9BF3-E881668D77D5}" dt="2021-07-21T14:48:59.826" v="338"/>
        <pc:sldMkLst>
          <pc:docMk/>
          <pc:sldMk cId="3669922693" sldId="1037"/>
        </pc:sldMkLst>
      </pc:sldChg>
      <pc:sldChg chg="addSp modSp">
        <pc:chgData name="Kuhn, Alexander" userId="S::uygeo@student.kit.edu::e6fa5008-0428-489e-9b07-397695ad69a4" providerId="AD" clId="Web-{16335376-421B-42FF-9BF3-E881668D77D5}" dt="2021-07-21T14:37:06.277" v="151" actId="20577"/>
        <pc:sldMkLst>
          <pc:docMk/>
          <pc:sldMk cId="2275217941" sldId="1039"/>
        </pc:sldMkLst>
        <pc:spChg chg="add mod">
          <ac:chgData name="Kuhn, Alexander" userId="S::uygeo@student.kit.edu::e6fa5008-0428-489e-9b07-397695ad69a4" providerId="AD" clId="Web-{16335376-421B-42FF-9BF3-E881668D77D5}" dt="2021-07-21T14:37:06.277" v="151" actId="20577"/>
          <ac:spMkLst>
            <pc:docMk/>
            <pc:sldMk cId="2275217941" sldId="1039"/>
            <ac:spMk id="3" creationId="{72C9AC0A-C091-4164-826E-28AA09F03987}"/>
          </ac:spMkLst>
        </pc:spChg>
      </pc:sldChg>
      <pc:sldChg chg="modSp">
        <pc:chgData name="Kuhn, Alexander" userId="S::uygeo@student.kit.edu::e6fa5008-0428-489e-9b07-397695ad69a4" providerId="AD" clId="Web-{16335376-421B-42FF-9BF3-E881668D77D5}" dt="2021-07-21T14:56:38.510" v="426" actId="1076"/>
        <pc:sldMkLst>
          <pc:docMk/>
          <pc:sldMk cId="2255818571" sldId="1043"/>
        </pc:sldMkLst>
        <pc:spChg chg="mod">
          <ac:chgData name="Kuhn, Alexander" userId="S::uygeo@student.kit.edu::e6fa5008-0428-489e-9b07-397695ad69a4" providerId="AD" clId="Web-{16335376-421B-42FF-9BF3-E881668D77D5}" dt="2021-07-21T14:56:38.510" v="426" actId="1076"/>
          <ac:spMkLst>
            <pc:docMk/>
            <pc:sldMk cId="2255818571" sldId="1043"/>
            <ac:spMk id="4" creationId="{AE84365F-945A-4B25-BB47-3C21A70520BB}"/>
          </ac:spMkLst>
        </pc:spChg>
      </pc:sldChg>
      <pc:sldChg chg="del">
        <pc:chgData name="Kuhn, Alexander" userId="S::uygeo@student.kit.edu::e6fa5008-0428-489e-9b07-397695ad69a4" providerId="AD" clId="Web-{16335376-421B-42FF-9BF3-E881668D77D5}" dt="2021-07-21T14:48:35.107" v="336"/>
        <pc:sldMkLst>
          <pc:docMk/>
          <pc:sldMk cId="1899717254" sldId="1053"/>
        </pc:sldMkLst>
      </pc:sldChg>
      <pc:sldChg chg="addSp delSp modSp">
        <pc:chgData name="Kuhn, Alexander" userId="S::uygeo@student.kit.edu::e6fa5008-0428-489e-9b07-397695ad69a4" providerId="AD" clId="Web-{16335376-421B-42FF-9BF3-E881668D77D5}" dt="2021-07-21T14:30:26.860" v="69"/>
        <pc:sldMkLst>
          <pc:docMk/>
          <pc:sldMk cId="174923254" sldId="1054"/>
        </pc:sldMkLst>
        <pc:picChg chg="add del mod">
          <ac:chgData name="Kuhn, Alexander" userId="S::uygeo@student.kit.edu::e6fa5008-0428-489e-9b07-397695ad69a4" providerId="AD" clId="Web-{16335376-421B-42FF-9BF3-E881668D77D5}" dt="2021-07-21T14:30:26.860" v="69"/>
          <ac:picMkLst>
            <pc:docMk/>
            <pc:sldMk cId="174923254" sldId="1054"/>
            <ac:picMk id="3" creationId="{15AC549A-7DAC-4F16-A517-E73DFC60E8A4}"/>
          </ac:picMkLst>
        </pc:picChg>
      </pc:sldChg>
      <pc:sldChg chg="addSp modSp del">
        <pc:chgData name="Kuhn, Alexander" userId="S::uygeo@student.kit.edu::e6fa5008-0428-489e-9b07-397695ad69a4" providerId="AD" clId="Web-{16335376-421B-42FF-9BF3-E881668D77D5}" dt="2021-07-21T14:47:39.871" v="331"/>
        <pc:sldMkLst>
          <pc:docMk/>
          <pc:sldMk cId="1298680929" sldId="1055"/>
        </pc:sldMkLst>
        <pc:spChg chg="add mod">
          <ac:chgData name="Kuhn, Alexander" userId="S::uygeo@student.kit.edu::e6fa5008-0428-489e-9b07-397695ad69a4" providerId="AD" clId="Web-{16335376-421B-42FF-9BF3-E881668D77D5}" dt="2021-07-21T14:41:23.190" v="304" actId="20577"/>
          <ac:spMkLst>
            <pc:docMk/>
            <pc:sldMk cId="1298680929" sldId="1055"/>
            <ac:spMk id="4" creationId="{3DD5DF01-38E9-4089-A884-96BB381CE894}"/>
          </ac:spMkLst>
        </pc:spChg>
      </pc:sldChg>
      <pc:sldChg chg="addSp modSp">
        <pc:chgData name="Kuhn, Alexander" userId="S::uygeo@student.kit.edu::e6fa5008-0428-489e-9b07-397695ad69a4" providerId="AD" clId="Web-{16335376-421B-42FF-9BF3-E881668D77D5}" dt="2021-07-21T14:57:07.448" v="428" actId="20577"/>
        <pc:sldMkLst>
          <pc:docMk/>
          <pc:sldMk cId="1996377858" sldId="1064"/>
        </pc:sldMkLst>
        <pc:spChg chg="mod">
          <ac:chgData name="Kuhn, Alexander" userId="S::uygeo@student.kit.edu::e6fa5008-0428-489e-9b07-397695ad69a4" providerId="AD" clId="Web-{16335376-421B-42FF-9BF3-E881668D77D5}" dt="2021-07-21T14:57:07.448" v="428" actId="20577"/>
          <ac:spMkLst>
            <pc:docMk/>
            <pc:sldMk cId="1996377858" sldId="1064"/>
            <ac:spMk id="3" creationId="{AB10CF39-9DF2-44A0-AD56-DA427741F6FD}"/>
          </ac:spMkLst>
        </pc:spChg>
        <pc:picChg chg="mod">
          <ac:chgData name="Kuhn, Alexander" userId="S::uygeo@student.kit.edu::e6fa5008-0428-489e-9b07-397695ad69a4" providerId="AD" clId="Web-{16335376-421B-42FF-9BF3-E881668D77D5}" dt="2021-07-21T14:35:57.869" v="101" actId="1076"/>
          <ac:picMkLst>
            <pc:docMk/>
            <pc:sldMk cId="1996377858" sldId="1064"/>
            <ac:picMk id="4" creationId="{762D51C1-13C7-49BC-8EBC-C8D12F6E4173}"/>
          </ac:picMkLst>
        </pc:picChg>
        <pc:picChg chg="add mod">
          <ac:chgData name="Kuhn, Alexander" userId="S::uygeo@student.kit.edu::e6fa5008-0428-489e-9b07-397695ad69a4" providerId="AD" clId="Web-{16335376-421B-42FF-9BF3-E881668D77D5}" dt="2021-07-21T14:35:42.009" v="95" actId="1076"/>
          <ac:picMkLst>
            <pc:docMk/>
            <pc:sldMk cId="1996377858" sldId="1064"/>
            <ac:picMk id="5" creationId="{762D51C1-13C7-49BC-8EBC-C8D12F6E4173}"/>
          </ac:picMkLst>
        </pc:picChg>
      </pc:sldChg>
      <pc:sldChg chg="del">
        <pc:chgData name="Kuhn, Alexander" userId="S::uygeo@student.kit.edu::e6fa5008-0428-489e-9b07-397695ad69a4" providerId="AD" clId="Web-{16335376-421B-42FF-9BF3-E881668D77D5}" dt="2021-07-21T14:48:47.967" v="337"/>
        <pc:sldMkLst>
          <pc:docMk/>
          <pc:sldMk cId="3326097208" sldId="1065"/>
        </pc:sldMkLst>
      </pc:sldChg>
      <pc:sldChg chg="modSp new ord">
        <pc:chgData name="Kuhn, Alexander" userId="S::uygeo@student.kit.edu::e6fa5008-0428-489e-9b07-397695ad69a4" providerId="AD" clId="Web-{16335376-421B-42FF-9BF3-E881668D77D5}" dt="2021-07-21T15:04:57.741" v="509" actId="20577"/>
        <pc:sldMkLst>
          <pc:docMk/>
          <pc:sldMk cId="2752072783" sldId="1072"/>
        </pc:sldMkLst>
        <pc:spChg chg="mod">
          <ac:chgData name="Kuhn, Alexander" userId="S::uygeo@student.kit.edu::e6fa5008-0428-489e-9b07-397695ad69a4" providerId="AD" clId="Web-{16335376-421B-42FF-9BF3-E881668D77D5}" dt="2021-07-21T14:28:15.904" v="55" actId="20577"/>
          <ac:spMkLst>
            <pc:docMk/>
            <pc:sldMk cId="2752072783" sldId="1072"/>
            <ac:spMk id="2" creationId="{7CB961EB-BDBD-4B74-AFA0-D0C289A570E1}"/>
          </ac:spMkLst>
        </pc:spChg>
        <pc:spChg chg="mod">
          <ac:chgData name="Kuhn, Alexander" userId="S::uygeo@student.kit.edu::e6fa5008-0428-489e-9b07-397695ad69a4" providerId="AD" clId="Web-{16335376-421B-42FF-9BF3-E881668D77D5}" dt="2021-07-21T15:04:57.741" v="509" actId="20577"/>
          <ac:spMkLst>
            <pc:docMk/>
            <pc:sldMk cId="2752072783" sldId="1072"/>
            <ac:spMk id="3" creationId="{7A45204B-E43B-43FF-B6D3-0D87A5F8D17D}"/>
          </ac:spMkLst>
        </pc:spChg>
      </pc:sldChg>
      <pc:sldChg chg="addSp delSp modSp">
        <pc:chgData name="Kuhn, Alexander" userId="S::uygeo@student.kit.edu::e6fa5008-0428-489e-9b07-397695ad69a4" providerId="AD" clId="Web-{16335376-421B-42FF-9BF3-E881668D77D5}" dt="2021-07-21T14:32:15.973" v="93" actId="1076"/>
        <pc:sldMkLst>
          <pc:docMk/>
          <pc:sldMk cId="1489069121" sldId="1073"/>
        </pc:sldMkLst>
        <pc:picChg chg="add del mod">
          <ac:chgData name="Kuhn, Alexander" userId="S::uygeo@student.kit.edu::e6fa5008-0428-489e-9b07-397695ad69a4" providerId="AD" clId="Web-{16335376-421B-42FF-9BF3-E881668D77D5}" dt="2021-07-21T14:31:01.893" v="75"/>
          <ac:picMkLst>
            <pc:docMk/>
            <pc:sldMk cId="1489069121" sldId="1073"/>
            <ac:picMk id="3" creationId="{D7472EB1-0F77-49E6-8826-CFCA87F08362}"/>
          </ac:picMkLst>
        </pc:picChg>
        <pc:picChg chg="add mod">
          <ac:chgData name="Kuhn, Alexander" userId="S::uygeo@student.kit.edu::e6fa5008-0428-489e-9b07-397695ad69a4" providerId="AD" clId="Web-{16335376-421B-42FF-9BF3-E881668D77D5}" dt="2021-07-21T14:31:48.784" v="85" actId="1076"/>
          <ac:picMkLst>
            <pc:docMk/>
            <pc:sldMk cId="1489069121" sldId="1073"/>
            <ac:picMk id="5" creationId="{BDF9306A-60E7-4000-986B-CFF25FAE1222}"/>
          </ac:picMkLst>
        </pc:picChg>
        <pc:picChg chg="add mod">
          <ac:chgData name="Kuhn, Alexander" userId="S::uygeo@student.kit.edu::e6fa5008-0428-489e-9b07-397695ad69a4" providerId="AD" clId="Web-{16335376-421B-42FF-9BF3-E881668D77D5}" dt="2021-07-21T14:32:15.973" v="93" actId="1076"/>
          <ac:picMkLst>
            <pc:docMk/>
            <pc:sldMk cId="1489069121" sldId="1073"/>
            <ac:picMk id="6" creationId="{D489673F-DF8A-4F30-AB58-BBED4406DFD0}"/>
          </ac:picMkLst>
        </pc:picChg>
      </pc:sldChg>
    </pc:docChg>
  </pc:docChgLst>
  <pc:docChgLst>
    <pc:chgData name="Diener, David Philipp" userId="S::unkbu@student.kit.edu::ba55c3d9-c1b2-4644-86f3-91300438b0f5" providerId="AD" clId="Web-{341241CB-D633-4FCF-974C-DC8CFFCF5146}"/>
    <pc:docChg chg="modSld">
      <pc:chgData name="Diener, David Philipp" userId="S::unkbu@student.kit.edu::ba55c3d9-c1b2-4644-86f3-91300438b0f5" providerId="AD" clId="Web-{341241CB-D633-4FCF-974C-DC8CFFCF5146}" dt="2021-07-22T21:06:14.432" v="1" actId="20577"/>
      <pc:docMkLst>
        <pc:docMk/>
      </pc:docMkLst>
      <pc:sldChg chg="modSp">
        <pc:chgData name="Diener, David Philipp" userId="S::unkbu@student.kit.edu::ba55c3d9-c1b2-4644-86f3-91300438b0f5" providerId="AD" clId="Web-{341241CB-D633-4FCF-974C-DC8CFFCF5146}" dt="2021-07-22T21:06:14.432" v="1" actId="20577"/>
        <pc:sldMkLst>
          <pc:docMk/>
          <pc:sldMk cId="948010637" sldId="1012"/>
        </pc:sldMkLst>
        <pc:spChg chg="mod">
          <ac:chgData name="Diener, David Philipp" userId="S::unkbu@student.kit.edu::ba55c3d9-c1b2-4644-86f3-91300438b0f5" providerId="AD" clId="Web-{341241CB-D633-4FCF-974C-DC8CFFCF5146}" dt="2021-07-22T21:06:14.432" v="1" actId="20577"/>
          <ac:spMkLst>
            <pc:docMk/>
            <pc:sldMk cId="948010637" sldId="1012"/>
            <ac:spMk id="17" creationId="{5F69EF1F-F50C-4B14-B6D0-537B1396717C}"/>
          </ac:spMkLst>
        </pc:spChg>
      </pc:sldChg>
    </pc:docChg>
  </pc:docChgLst>
  <pc:docChgLst>
    <pc:chgData name="Diener, David Philipp" userId="S::unkbu@student.kit.edu::ba55c3d9-c1b2-4644-86f3-91300438b0f5" providerId="AD" clId="Web-{3D206D0D-6F94-4604-BB90-7FD926C076F3}"/>
    <pc:docChg chg="modSld">
      <pc:chgData name="Diener, David Philipp" userId="S::unkbu@student.kit.edu::ba55c3d9-c1b2-4644-86f3-91300438b0f5" providerId="AD" clId="Web-{3D206D0D-6F94-4604-BB90-7FD926C076F3}" dt="2021-07-22T12:45:04.173" v="80" actId="20577"/>
      <pc:docMkLst>
        <pc:docMk/>
      </pc:docMkLst>
      <pc:sldChg chg="modSp">
        <pc:chgData name="Diener, David Philipp" userId="S::unkbu@student.kit.edu::ba55c3d9-c1b2-4644-86f3-91300438b0f5" providerId="AD" clId="Web-{3D206D0D-6F94-4604-BB90-7FD926C076F3}" dt="2021-07-22T12:45:04.173" v="80" actId="20577"/>
        <pc:sldMkLst>
          <pc:docMk/>
          <pc:sldMk cId="2752072783" sldId="1072"/>
        </pc:sldMkLst>
        <pc:spChg chg="mod">
          <ac:chgData name="Diener, David Philipp" userId="S::unkbu@student.kit.edu::ba55c3d9-c1b2-4644-86f3-91300438b0f5" providerId="AD" clId="Web-{3D206D0D-6F94-4604-BB90-7FD926C076F3}" dt="2021-07-22T12:45:04.173" v="80" actId="20577"/>
          <ac:spMkLst>
            <pc:docMk/>
            <pc:sldMk cId="2752072783" sldId="1072"/>
            <ac:spMk id="3" creationId="{7A45204B-E43B-43FF-B6D3-0D87A5F8D17D}"/>
          </ac:spMkLst>
        </pc:spChg>
      </pc:sldChg>
    </pc:docChg>
  </pc:docChgLst>
  <pc:docChgLst>
    <pc:chgData name="uqegs" userId="d1d51f6c-461f-4edd-ac02-8c473eb086ac" providerId="ADAL" clId="{B6A259E1-09F2-4032-B749-76E6F5C2DA10}"/>
    <pc:docChg chg="custSel addSld delSld modSld sldOrd modSection">
      <pc:chgData name="uqegs" userId="d1d51f6c-461f-4edd-ac02-8c473eb086ac" providerId="ADAL" clId="{B6A259E1-09F2-4032-B749-76E6F5C2DA10}" dt="2021-07-22T20:24:29.009" v="2668" actId="1076"/>
      <pc:docMkLst>
        <pc:docMk/>
      </pc:docMkLst>
      <pc:sldChg chg="modNotesTx">
        <pc:chgData name="uqegs" userId="d1d51f6c-461f-4edd-ac02-8c473eb086ac" providerId="ADAL" clId="{B6A259E1-09F2-4032-B749-76E6F5C2DA10}" dt="2021-07-22T20:13:48.247" v="2117" actId="20577"/>
        <pc:sldMkLst>
          <pc:docMk/>
          <pc:sldMk cId="1863091297" sldId="260"/>
        </pc:sldMkLst>
      </pc:sldChg>
      <pc:sldChg chg="addSp delSp modSp mod">
        <pc:chgData name="uqegs" userId="d1d51f6c-461f-4edd-ac02-8c473eb086ac" providerId="ADAL" clId="{B6A259E1-09F2-4032-B749-76E6F5C2DA10}" dt="2021-07-22T20:24:29.009" v="2668" actId="1076"/>
        <pc:sldMkLst>
          <pc:docMk/>
          <pc:sldMk cId="3440437807" sldId="464"/>
        </pc:sldMkLst>
        <pc:spChg chg="add del mod">
          <ac:chgData name="uqegs" userId="d1d51f6c-461f-4edd-ac02-8c473eb086ac" providerId="ADAL" clId="{B6A259E1-09F2-4032-B749-76E6F5C2DA10}" dt="2021-07-22T20:24:25.175" v="2666"/>
          <ac:spMkLst>
            <pc:docMk/>
            <pc:sldMk cId="3440437807" sldId="464"/>
            <ac:spMk id="5" creationId="{824EDDBD-270D-4786-AAC1-739889ECFD48}"/>
          </ac:spMkLst>
        </pc:spChg>
        <pc:picChg chg="del">
          <ac:chgData name="uqegs" userId="d1d51f6c-461f-4edd-ac02-8c473eb086ac" providerId="ADAL" clId="{B6A259E1-09F2-4032-B749-76E6F5C2DA10}" dt="2021-07-22T20:24:11.610" v="2662" actId="21"/>
          <ac:picMkLst>
            <pc:docMk/>
            <pc:sldMk cId="3440437807" sldId="464"/>
            <ac:picMk id="2" creationId="{86749A0C-29CD-42D6-B98E-C40139A98CD4}"/>
          </ac:picMkLst>
        </pc:picChg>
        <pc:picChg chg="add mod">
          <ac:chgData name="uqegs" userId="d1d51f6c-461f-4edd-ac02-8c473eb086ac" providerId="ADAL" clId="{B6A259E1-09F2-4032-B749-76E6F5C2DA10}" dt="2021-07-22T20:24:29.009" v="2668" actId="1076"/>
          <ac:picMkLst>
            <pc:docMk/>
            <pc:sldMk cId="3440437807" sldId="464"/>
            <ac:picMk id="4" creationId="{967BC5FD-A888-4DED-9E9F-A8191A3179FA}"/>
          </ac:picMkLst>
        </pc:picChg>
      </pc:sldChg>
      <pc:sldChg chg="modNotesTx">
        <pc:chgData name="uqegs" userId="d1d51f6c-461f-4edd-ac02-8c473eb086ac" providerId="ADAL" clId="{B6A259E1-09F2-4032-B749-76E6F5C2DA10}" dt="2021-07-22T20:22:24.128" v="2661"/>
        <pc:sldMkLst>
          <pc:docMk/>
          <pc:sldMk cId="948010637" sldId="1012"/>
        </pc:sldMkLst>
      </pc:sldChg>
      <pc:sldChg chg="modNotesTx">
        <pc:chgData name="uqegs" userId="d1d51f6c-461f-4edd-ac02-8c473eb086ac" providerId="ADAL" clId="{B6A259E1-09F2-4032-B749-76E6F5C2DA10}" dt="2021-07-22T19:36:03.933" v="467" actId="20577"/>
        <pc:sldMkLst>
          <pc:docMk/>
          <pc:sldMk cId="1405421131" sldId="1038"/>
        </pc:sldMkLst>
      </pc:sldChg>
      <pc:sldChg chg="modNotesTx">
        <pc:chgData name="uqegs" userId="d1d51f6c-461f-4edd-ac02-8c473eb086ac" providerId="ADAL" clId="{B6A259E1-09F2-4032-B749-76E6F5C2DA10}" dt="2021-07-22T20:20:20.742" v="2660" actId="20577"/>
        <pc:sldMkLst>
          <pc:docMk/>
          <pc:sldMk cId="2275217941" sldId="1039"/>
        </pc:sldMkLst>
      </pc:sldChg>
      <pc:sldChg chg="modNotesTx">
        <pc:chgData name="uqegs" userId="d1d51f6c-461f-4edd-ac02-8c473eb086ac" providerId="ADAL" clId="{B6A259E1-09F2-4032-B749-76E6F5C2DA10}" dt="2021-07-22T19:22:23.155" v="6" actId="20577"/>
        <pc:sldMkLst>
          <pc:docMk/>
          <pc:sldMk cId="3036264069" sldId="1040"/>
        </pc:sldMkLst>
      </pc:sldChg>
      <pc:sldChg chg="addSp delSp modSp modNotesTx">
        <pc:chgData name="uqegs" userId="d1d51f6c-461f-4edd-ac02-8c473eb086ac" providerId="ADAL" clId="{B6A259E1-09F2-4032-B749-76E6F5C2DA10}" dt="2021-07-22T19:50:26.641" v="1276" actId="478"/>
        <pc:sldMkLst>
          <pc:docMk/>
          <pc:sldMk cId="3591796391" sldId="1041"/>
        </pc:sldMkLst>
        <pc:spChg chg="add mod">
          <ac:chgData name="uqegs" userId="d1d51f6c-461f-4edd-ac02-8c473eb086ac" providerId="ADAL" clId="{B6A259E1-09F2-4032-B749-76E6F5C2DA10}" dt="2021-07-22T19:50:22.713" v="1275" actId="767"/>
          <ac:spMkLst>
            <pc:docMk/>
            <pc:sldMk cId="3591796391" sldId="1041"/>
            <ac:spMk id="3" creationId="{16731CF9-6C63-44C2-B45F-CC3FC24AD4CC}"/>
          </ac:spMkLst>
        </pc:spChg>
        <pc:spChg chg="del">
          <ac:chgData name="uqegs" userId="d1d51f6c-461f-4edd-ac02-8c473eb086ac" providerId="ADAL" clId="{B6A259E1-09F2-4032-B749-76E6F5C2DA10}" dt="2021-07-22T19:50:26.641" v="1276" actId="478"/>
          <ac:spMkLst>
            <pc:docMk/>
            <pc:sldMk cId="3591796391" sldId="1041"/>
            <ac:spMk id="5" creationId="{16731CF9-6C63-44C2-B45F-CC3FC24AD4CC}"/>
          </ac:spMkLst>
        </pc:spChg>
      </pc:sldChg>
      <pc:sldChg chg="modNotesTx">
        <pc:chgData name="uqegs" userId="d1d51f6c-461f-4edd-ac02-8c473eb086ac" providerId="ADAL" clId="{B6A259E1-09F2-4032-B749-76E6F5C2DA10}" dt="2021-07-22T20:14:36.255" v="2145" actId="20577"/>
        <pc:sldMkLst>
          <pc:docMk/>
          <pc:sldMk cId="2255818571" sldId="1043"/>
        </pc:sldMkLst>
      </pc:sldChg>
      <pc:sldChg chg="modNotesTx">
        <pc:chgData name="uqegs" userId="d1d51f6c-461f-4edd-ac02-8c473eb086ac" providerId="ADAL" clId="{B6A259E1-09F2-4032-B749-76E6F5C2DA10}" dt="2021-07-22T19:42:25.970" v="874" actId="20577"/>
        <pc:sldMkLst>
          <pc:docMk/>
          <pc:sldMk cId="4276270557" sldId="1045"/>
        </pc:sldMkLst>
      </pc:sldChg>
      <pc:sldChg chg="modNotesTx">
        <pc:chgData name="uqegs" userId="d1d51f6c-461f-4edd-ac02-8c473eb086ac" providerId="ADAL" clId="{B6A259E1-09F2-4032-B749-76E6F5C2DA10}" dt="2021-07-22T19:29:00.866" v="272" actId="20577"/>
        <pc:sldMkLst>
          <pc:docMk/>
          <pc:sldMk cId="1233787424" sldId="1051"/>
        </pc:sldMkLst>
      </pc:sldChg>
      <pc:sldChg chg="modSp mod modNotesTx">
        <pc:chgData name="uqegs" userId="d1d51f6c-461f-4edd-ac02-8c473eb086ac" providerId="ADAL" clId="{B6A259E1-09F2-4032-B749-76E6F5C2DA10}" dt="2021-07-22T20:04:31.323" v="1735" actId="20577"/>
        <pc:sldMkLst>
          <pc:docMk/>
          <pc:sldMk cId="174923254" sldId="1054"/>
        </pc:sldMkLst>
        <pc:spChg chg="mod">
          <ac:chgData name="uqegs" userId="d1d51f6c-461f-4edd-ac02-8c473eb086ac" providerId="ADAL" clId="{B6A259E1-09F2-4032-B749-76E6F5C2DA10}" dt="2021-07-22T19:58:34.707" v="1278" actId="20577"/>
          <ac:spMkLst>
            <pc:docMk/>
            <pc:sldMk cId="174923254" sldId="1054"/>
            <ac:spMk id="12" creationId="{41232EB3-2186-4ECD-8682-4EA4A8C1DC4F}"/>
          </ac:spMkLst>
        </pc:spChg>
      </pc:sldChg>
      <pc:sldChg chg="modNotesTx">
        <pc:chgData name="uqegs" userId="d1d51f6c-461f-4edd-ac02-8c473eb086ac" providerId="ADAL" clId="{B6A259E1-09F2-4032-B749-76E6F5C2DA10}" dt="2021-07-22T19:32:05.185" v="408" actId="5793"/>
        <pc:sldMkLst>
          <pc:docMk/>
          <pc:sldMk cId="3523576549" sldId="1056"/>
        </pc:sldMkLst>
      </pc:sldChg>
      <pc:sldChg chg="modNotesTx">
        <pc:chgData name="uqegs" userId="d1d51f6c-461f-4edd-ac02-8c473eb086ac" providerId="ADAL" clId="{B6A259E1-09F2-4032-B749-76E6F5C2DA10}" dt="2021-07-22T19:49:03.396" v="1168" actId="20577"/>
        <pc:sldMkLst>
          <pc:docMk/>
          <pc:sldMk cId="3024107589" sldId="1059"/>
        </pc:sldMkLst>
      </pc:sldChg>
      <pc:sldChg chg="modSp mod modNotesTx">
        <pc:chgData name="uqegs" userId="d1d51f6c-461f-4edd-ac02-8c473eb086ac" providerId="ADAL" clId="{B6A259E1-09F2-4032-B749-76E6F5C2DA10}" dt="2021-07-22T19:40:35.324" v="738" actId="20577"/>
        <pc:sldMkLst>
          <pc:docMk/>
          <pc:sldMk cId="844776175" sldId="1061"/>
        </pc:sldMkLst>
        <pc:spChg chg="mod">
          <ac:chgData name="uqegs" userId="d1d51f6c-461f-4edd-ac02-8c473eb086ac" providerId="ADAL" clId="{B6A259E1-09F2-4032-B749-76E6F5C2DA10}" dt="2021-07-22T19:40:35.324" v="738" actId="20577"/>
          <ac:spMkLst>
            <pc:docMk/>
            <pc:sldMk cId="844776175" sldId="1061"/>
            <ac:spMk id="7" creationId="{74269315-FD08-4D24-9BBE-DBAD3A10708F}"/>
          </ac:spMkLst>
        </pc:spChg>
        <pc:spChg chg="mod">
          <ac:chgData name="uqegs" userId="d1d51f6c-461f-4edd-ac02-8c473eb086ac" providerId="ADAL" clId="{B6A259E1-09F2-4032-B749-76E6F5C2DA10}" dt="2021-07-22T19:40:25.501" v="721" actId="20577"/>
          <ac:spMkLst>
            <pc:docMk/>
            <pc:sldMk cId="844776175" sldId="1061"/>
            <ac:spMk id="12" creationId="{FE80700B-47A0-4E65-83C3-E86BF80050BF}"/>
          </ac:spMkLst>
        </pc:spChg>
      </pc:sldChg>
      <pc:sldChg chg="ord modNotesTx">
        <pc:chgData name="uqegs" userId="d1d51f6c-461f-4edd-ac02-8c473eb086ac" providerId="ADAL" clId="{B6A259E1-09F2-4032-B749-76E6F5C2DA10}" dt="2021-07-22T19:46:49.362" v="1144" actId="20577"/>
        <pc:sldMkLst>
          <pc:docMk/>
          <pc:sldMk cId="2276500948" sldId="1069"/>
        </pc:sldMkLst>
      </pc:sldChg>
      <pc:sldChg chg="addSp delSp modSp mod modNotesTx">
        <pc:chgData name="uqegs" userId="d1d51f6c-461f-4edd-ac02-8c473eb086ac" providerId="ADAL" clId="{B6A259E1-09F2-4032-B749-76E6F5C2DA10}" dt="2021-07-22T20:09:49.609" v="2009" actId="478"/>
        <pc:sldMkLst>
          <pc:docMk/>
          <pc:sldMk cId="1190020464" sldId="1074"/>
        </pc:sldMkLst>
        <pc:spChg chg="add del mod">
          <ac:chgData name="uqegs" userId="d1d51f6c-461f-4edd-ac02-8c473eb086ac" providerId="ADAL" clId="{B6A259E1-09F2-4032-B749-76E6F5C2DA10}" dt="2021-07-22T20:09:49.609" v="2009" actId="478"/>
          <ac:spMkLst>
            <pc:docMk/>
            <pc:sldMk cId="1190020464" sldId="1074"/>
            <ac:spMk id="3" creationId="{BC62A962-3BC2-49BE-BEF9-9B3613AF7E13}"/>
          </ac:spMkLst>
        </pc:spChg>
      </pc:sldChg>
      <pc:sldChg chg="new del">
        <pc:chgData name="uqegs" userId="d1d51f6c-461f-4edd-ac02-8c473eb086ac" providerId="ADAL" clId="{B6A259E1-09F2-4032-B749-76E6F5C2DA10}" dt="2021-07-22T20:14:23.863" v="2119" actId="47"/>
        <pc:sldMkLst>
          <pc:docMk/>
          <pc:sldMk cId="2407027104" sldId="1075"/>
        </pc:sldMkLst>
      </pc:sldChg>
    </pc:docChg>
  </pc:docChgLst>
  <pc:docChgLst>
    <pc:chgData name="Diener, David Philipp" userId="S::unkbu@student.kit.edu::ba55c3d9-c1b2-4644-86f3-91300438b0f5" providerId="AD" clId="Web-{8E785D0A-BE12-4ED3-AA43-D88F9395DFAC}"/>
    <pc:docChg chg="modSld">
      <pc:chgData name="Diener, David Philipp" userId="S::unkbu@student.kit.edu::ba55c3d9-c1b2-4644-86f3-91300438b0f5" providerId="AD" clId="Web-{8E785D0A-BE12-4ED3-AA43-D88F9395DFAC}" dt="2021-07-22T13:10:20.332" v="0"/>
      <pc:docMkLst>
        <pc:docMk/>
      </pc:docMkLst>
      <pc:sldChg chg="delSp">
        <pc:chgData name="Diener, David Philipp" userId="S::unkbu@student.kit.edu::ba55c3d9-c1b2-4644-86f3-91300438b0f5" providerId="AD" clId="Web-{8E785D0A-BE12-4ED3-AA43-D88F9395DFAC}" dt="2021-07-22T13:10:20.332" v="0"/>
        <pc:sldMkLst>
          <pc:docMk/>
          <pc:sldMk cId="2275217941" sldId="1039"/>
        </pc:sldMkLst>
        <pc:spChg chg="del">
          <ac:chgData name="Diener, David Philipp" userId="S::unkbu@student.kit.edu::ba55c3d9-c1b2-4644-86f3-91300438b0f5" providerId="AD" clId="Web-{8E785D0A-BE12-4ED3-AA43-D88F9395DFAC}" dt="2021-07-22T13:10:20.332" v="0"/>
          <ac:spMkLst>
            <pc:docMk/>
            <pc:sldMk cId="2275217941" sldId="1039"/>
            <ac:spMk id="3" creationId="{72C9AC0A-C091-4164-826E-28AA09F03987}"/>
          </ac:spMkLst>
        </pc:spChg>
      </pc:sldChg>
    </pc:docChg>
  </pc:docChgLst>
  <pc:docChgLst>
    <pc:chgData name="Loy, Johannes Leopold" userId="S::usljl@student.kit.edu::49a6c0e1-2baa-4b01-8f84-048a6dcfd176" providerId="AD" clId="Web-{9359464E-4B6C-4420-B464-7FB492F988CA}"/>
    <pc:docChg chg="modSld">
      <pc:chgData name="Loy, Johannes Leopold" userId="S::usljl@student.kit.edu::49a6c0e1-2baa-4b01-8f84-048a6dcfd176" providerId="AD" clId="Web-{9359464E-4B6C-4420-B464-7FB492F988CA}" dt="2021-07-22T13:26:36.543" v="19" actId="20577"/>
      <pc:docMkLst>
        <pc:docMk/>
      </pc:docMkLst>
      <pc:sldChg chg="modSp">
        <pc:chgData name="Loy, Johannes Leopold" userId="S::usljl@student.kit.edu::49a6c0e1-2baa-4b01-8f84-048a6dcfd176" providerId="AD" clId="Web-{9359464E-4B6C-4420-B464-7FB492F988CA}" dt="2021-07-22T13:26:36.543" v="19" actId="20577"/>
        <pc:sldMkLst>
          <pc:docMk/>
          <pc:sldMk cId="2752072783" sldId="1072"/>
        </pc:sldMkLst>
        <pc:spChg chg="mod">
          <ac:chgData name="Loy, Johannes Leopold" userId="S::usljl@student.kit.edu::49a6c0e1-2baa-4b01-8f84-048a6dcfd176" providerId="AD" clId="Web-{9359464E-4B6C-4420-B464-7FB492F988CA}" dt="2021-07-22T13:26:36.543" v="19" actId="20577"/>
          <ac:spMkLst>
            <pc:docMk/>
            <pc:sldMk cId="2752072783" sldId="1072"/>
            <ac:spMk id="3" creationId="{7A45204B-E43B-43FF-B6D3-0D87A5F8D17D}"/>
          </ac:spMkLst>
        </pc:spChg>
      </pc:sldChg>
    </pc:docChg>
  </pc:docChgLst>
  <pc:docChgLst>
    <pc:chgData name="Nekolla, Moritz" userId="S::ughni@student.kit.edu::508f0209-ac39-4121-91ff-bc4868bb0fd8" providerId="AD" clId="Web-{F84EC455-FF2D-4383-985F-0BB38346D3B8}"/>
    <pc:docChg chg="modSld">
      <pc:chgData name="Nekolla, Moritz" userId="S::ughni@student.kit.edu::508f0209-ac39-4121-91ff-bc4868bb0fd8" providerId="AD" clId="Web-{F84EC455-FF2D-4383-985F-0BB38346D3B8}" dt="2021-07-22T19:16:33.725" v="13" actId="20577"/>
      <pc:docMkLst>
        <pc:docMk/>
      </pc:docMkLst>
      <pc:sldChg chg="modSp">
        <pc:chgData name="Nekolla, Moritz" userId="S::ughni@student.kit.edu::508f0209-ac39-4121-91ff-bc4868bb0fd8" providerId="AD" clId="Web-{F84EC455-FF2D-4383-985F-0BB38346D3B8}" dt="2021-07-22T19:16:33.725" v="13" actId="20577"/>
        <pc:sldMkLst>
          <pc:docMk/>
          <pc:sldMk cId="174923254" sldId="1054"/>
        </pc:sldMkLst>
        <pc:spChg chg="mod">
          <ac:chgData name="Nekolla, Moritz" userId="S::ughni@student.kit.edu::508f0209-ac39-4121-91ff-bc4868bb0fd8" providerId="AD" clId="Web-{F84EC455-FF2D-4383-985F-0BB38346D3B8}" dt="2021-07-22T19:16:33.725" v="13" actId="20577"/>
          <ac:spMkLst>
            <pc:docMk/>
            <pc:sldMk cId="174923254" sldId="1054"/>
            <ac:spMk id="13" creationId="{6B731578-A4D5-4303-94E9-05DD6D6EEB36}"/>
          </ac:spMkLst>
        </pc:spChg>
      </pc:sldChg>
    </pc:docChg>
  </pc:docChgLst>
  <pc:docChgLst>
    <pc:chgData name="Loy, Johannes Leopold" userId="S::usljl@student.kit.edu::49a6c0e1-2baa-4b01-8f84-048a6dcfd176" providerId="AD" clId="Web-{79ECA18D-899F-4EEC-8F1E-71BED59561CB}"/>
    <pc:docChg chg="modSld">
      <pc:chgData name="Loy, Johannes Leopold" userId="S::usljl@student.kit.edu::49a6c0e1-2baa-4b01-8f84-048a6dcfd176" providerId="AD" clId="Web-{79ECA18D-899F-4EEC-8F1E-71BED59561CB}" dt="2021-07-21T12:54:10.885" v="7" actId="1076"/>
      <pc:docMkLst>
        <pc:docMk/>
      </pc:docMkLst>
      <pc:sldChg chg="delSp">
        <pc:chgData name="Loy, Johannes Leopold" userId="S::usljl@student.kit.edu::49a6c0e1-2baa-4b01-8f84-048a6dcfd176" providerId="AD" clId="Web-{79ECA18D-899F-4EEC-8F1E-71BED59561CB}" dt="2021-07-21T12:53:02.664" v="0"/>
        <pc:sldMkLst>
          <pc:docMk/>
          <pc:sldMk cId="1233787424" sldId="1051"/>
        </pc:sldMkLst>
        <pc:spChg chg="del">
          <ac:chgData name="Loy, Johannes Leopold" userId="S::usljl@student.kit.edu::49a6c0e1-2baa-4b01-8f84-048a6dcfd176" providerId="AD" clId="Web-{79ECA18D-899F-4EEC-8F1E-71BED59561CB}" dt="2021-07-21T12:53:02.664" v="0"/>
          <ac:spMkLst>
            <pc:docMk/>
            <pc:sldMk cId="1233787424" sldId="1051"/>
            <ac:spMk id="14" creationId="{6AEADFD1-FB29-4767-A17A-94EB5B282ED4}"/>
          </ac:spMkLst>
        </pc:spChg>
      </pc:sldChg>
      <pc:sldChg chg="addSp modSp">
        <pc:chgData name="Loy, Johannes Leopold" userId="S::usljl@student.kit.edu::49a6c0e1-2baa-4b01-8f84-048a6dcfd176" providerId="AD" clId="Web-{79ECA18D-899F-4EEC-8F1E-71BED59561CB}" dt="2021-07-21T12:54:10.885" v="7" actId="1076"/>
        <pc:sldMkLst>
          <pc:docMk/>
          <pc:sldMk cId="844776175" sldId="1061"/>
        </pc:sldMkLst>
        <pc:spChg chg="add mod">
          <ac:chgData name="Loy, Johannes Leopold" userId="S::usljl@student.kit.edu::49a6c0e1-2baa-4b01-8f84-048a6dcfd176" providerId="AD" clId="Web-{79ECA18D-899F-4EEC-8F1E-71BED59561CB}" dt="2021-07-21T12:54:10.885" v="7" actId="1076"/>
          <ac:spMkLst>
            <pc:docMk/>
            <pc:sldMk cId="844776175" sldId="1061"/>
            <ac:spMk id="5" creationId="{9C2C85E8-D848-4BA3-9BA8-E2A6D1C2221D}"/>
          </ac:spMkLst>
        </pc:spChg>
      </pc:sldChg>
    </pc:docChg>
  </pc:docChgLst>
  <pc:docChgLst>
    <pc:chgData name="Kuhn, Alexander" userId="S::uygeo@student.kit.edu::e6fa5008-0428-489e-9b07-397695ad69a4" providerId="AD" clId="Web-{2D35D19C-3AA5-4A33-A450-BDDB4641B3D2}"/>
    <pc:docChg chg="modSld">
      <pc:chgData name="Kuhn, Alexander" userId="S::uygeo@student.kit.edu::e6fa5008-0428-489e-9b07-397695ad69a4" providerId="AD" clId="Web-{2D35D19C-3AA5-4A33-A450-BDDB4641B3D2}" dt="2021-07-21T13:09:07.589" v="24" actId="1076"/>
      <pc:docMkLst>
        <pc:docMk/>
      </pc:docMkLst>
      <pc:sldChg chg="addSp delSp modSp">
        <pc:chgData name="Kuhn, Alexander" userId="S::uygeo@student.kit.edu::e6fa5008-0428-489e-9b07-397695ad69a4" providerId="AD" clId="Web-{2D35D19C-3AA5-4A33-A450-BDDB4641B3D2}" dt="2021-07-21T13:09:07.589" v="24" actId="1076"/>
        <pc:sldMkLst>
          <pc:docMk/>
          <pc:sldMk cId="3024107589" sldId="1059"/>
        </pc:sldMkLst>
        <pc:spChg chg="del mod">
          <ac:chgData name="Kuhn, Alexander" userId="S::uygeo@student.kit.edu::e6fa5008-0428-489e-9b07-397695ad69a4" providerId="AD" clId="Web-{2D35D19C-3AA5-4A33-A450-BDDB4641B3D2}" dt="2021-07-21T13:04:38.133" v="1"/>
          <ac:spMkLst>
            <pc:docMk/>
            <pc:sldMk cId="3024107589" sldId="1059"/>
            <ac:spMk id="7" creationId="{AC84FA05-8CE4-42EF-B0CD-C615A1614CC2}"/>
          </ac:spMkLst>
        </pc:spChg>
        <pc:picChg chg="mod">
          <ac:chgData name="Kuhn, Alexander" userId="S::uygeo@student.kit.edu::e6fa5008-0428-489e-9b07-397695ad69a4" providerId="AD" clId="Web-{2D35D19C-3AA5-4A33-A450-BDDB4641B3D2}" dt="2021-07-21T13:06:12.165" v="7" actId="1076"/>
          <ac:picMkLst>
            <pc:docMk/>
            <pc:sldMk cId="3024107589" sldId="1059"/>
            <ac:picMk id="3" creationId="{78F53D34-C3B1-45F8-9B48-DA6CBDB6AEC6}"/>
          </ac:picMkLst>
        </pc:picChg>
        <pc:picChg chg="mod">
          <ac:chgData name="Kuhn, Alexander" userId="S::uygeo@student.kit.edu::e6fa5008-0428-489e-9b07-397695ad69a4" providerId="AD" clId="Web-{2D35D19C-3AA5-4A33-A450-BDDB4641B3D2}" dt="2021-07-21T13:06:14.618" v="8" actId="1076"/>
          <ac:picMkLst>
            <pc:docMk/>
            <pc:sldMk cId="3024107589" sldId="1059"/>
            <ac:picMk id="7" creationId="{504E643F-7918-4843-B306-A6B551489E00}"/>
          </ac:picMkLst>
        </pc:picChg>
        <pc:picChg chg="add del mod">
          <ac:chgData name="Kuhn, Alexander" userId="S::uygeo@student.kit.edu::e6fa5008-0428-489e-9b07-397695ad69a4" providerId="AD" clId="Web-{2D35D19C-3AA5-4A33-A450-BDDB4641B3D2}" dt="2021-07-21T13:04:50.383" v="4"/>
          <ac:picMkLst>
            <pc:docMk/>
            <pc:sldMk cId="3024107589" sldId="1059"/>
            <ac:picMk id="8" creationId="{786FF930-4134-4417-9ECF-C717907FFE19}"/>
          </ac:picMkLst>
        </pc:picChg>
        <pc:picChg chg="add mod">
          <ac:chgData name="Kuhn, Alexander" userId="S::uygeo@student.kit.edu::e6fa5008-0428-489e-9b07-397695ad69a4" providerId="AD" clId="Web-{2D35D19C-3AA5-4A33-A450-BDDB4641B3D2}" dt="2021-07-21T13:05:10.539" v="6" actId="1076"/>
          <ac:picMkLst>
            <pc:docMk/>
            <pc:sldMk cId="3024107589" sldId="1059"/>
            <ac:picMk id="9" creationId="{504E643F-7918-4843-B306-A6B551489E00}"/>
          </ac:picMkLst>
        </pc:picChg>
        <pc:picChg chg="add mod">
          <ac:chgData name="Kuhn, Alexander" userId="S::uygeo@student.kit.edu::e6fa5008-0428-489e-9b07-397695ad69a4" providerId="AD" clId="Web-{2D35D19C-3AA5-4A33-A450-BDDB4641B3D2}" dt="2021-07-21T13:06:21.259" v="10" actId="1076"/>
          <ac:picMkLst>
            <pc:docMk/>
            <pc:sldMk cId="3024107589" sldId="1059"/>
            <ac:picMk id="11" creationId="{7AABB39A-3208-4FB9-B03C-01C1D2812C59}"/>
          </ac:picMkLst>
        </pc:picChg>
        <pc:picChg chg="add mod">
          <ac:chgData name="Kuhn, Alexander" userId="S::uygeo@student.kit.edu::e6fa5008-0428-489e-9b07-397695ad69a4" providerId="AD" clId="Web-{2D35D19C-3AA5-4A33-A450-BDDB4641B3D2}" dt="2021-07-21T13:06:27.665" v="12" actId="1076"/>
          <ac:picMkLst>
            <pc:docMk/>
            <pc:sldMk cId="3024107589" sldId="1059"/>
            <ac:picMk id="12" creationId="{6AB724C2-6D45-4FE2-9D31-76B2E32A96C4}"/>
          </ac:picMkLst>
        </pc:picChg>
        <pc:picChg chg="add mod">
          <ac:chgData name="Kuhn, Alexander" userId="S::uygeo@student.kit.edu::e6fa5008-0428-489e-9b07-397695ad69a4" providerId="AD" clId="Web-{2D35D19C-3AA5-4A33-A450-BDDB4641B3D2}" dt="2021-07-21T13:07:45.728" v="18" actId="1076"/>
          <ac:picMkLst>
            <pc:docMk/>
            <pc:sldMk cId="3024107589" sldId="1059"/>
            <ac:picMk id="13" creationId="{E4A5FEA0-A033-467E-8165-524B06337258}"/>
          </ac:picMkLst>
        </pc:picChg>
        <pc:picChg chg="add mod">
          <ac:chgData name="Kuhn, Alexander" userId="S::uygeo@student.kit.edu::e6fa5008-0428-489e-9b07-397695ad69a4" providerId="AD" clId="Web-{2D35D19C-3AA5-4A33-A450-BDDB4641B3D2}" dt="2021-07-21T13:08:12.822" v="20" actId="1076"/>
          <ac:picMkLst>
            <pc:docMk/>
            <pc:sldMk cId="3024107589" sldId="1059"/>
            <ac:picMk id="14" creationId="{F77E1EB6-F59B-4A6A-8048-CF2F75A29EFD}"/>
          </ac:picMkLst>
        </pc:picChg>
        <pc:picChg chg="add mod">
          <ac:chgData name="Kuhn, Alexander" userId="S::uygeo@student.kit.edu::e6fa5008-0428-489e-9b07-397695ad69a4" providerId="AD" clId="Web-{2D35D19C-3AA5-4A33-A450-BDDB4641B3D2}" dt="2021-07-21T13:09:01.089" v="22" actId="1076"/>
          <ac:picMkLst>
            <pc:docMk/>
            <pc:sldMk cId="3024107589" sldId="1059"/>
            <ac:picMk id="15" creationId="{5D0FE6A8-BD2F-4178-9B68-8DA60F851C48}"/>
          </ac:picMkLst>
        </pc:picChg>
        <pc:picChg chg="add mod">
          <ac:chgData name="Kuhn, Alexander" userId="S::uygeo@student.kit.edu::e6fa5008-0428-489e-9b07-397695ad69a4" providerId="AD" clId="Web-{2D35D19C-3AA5-4A33-A450-BDDB4641B3D2}" dt="2021-07-21T13:09:07.589" v="24" actId="1076"/>
          <ac:picMkLst>
            <pc:docMk/>
            <pc:sldMk cId="3024107589" sldId="1059"/>
            <ac:picMk id="16" creationId="{A9F81E58-3A41-4B4C-B3A8-7991FA973722}"/>
          </ac:picMkLst>
        </pc:picChg>
      </pc:sldChg>
    </pc:docChg>
  </pc:docChgLst>
  <pc:docChgLst>
    <pc:chgData name="Kuhn, Alexander" userId="S::uygeo@student.kit.edu::e6fa5008-0428-489e-9b07-397695ad69a4" providerId="AD" clId="Web-{1F7FB735-6CE3-486A-8574-045C5496643F}"/>
    <pc:docChg chg="modSld">
      <pc:chgData name="Kuhn, Alexander" userId="S::uygeo@student.kit.edu::e6fa5008-0428-489e-9b07-397695ad69a4" providerId="AD" clId="Web-{1F7FB735-6CE3-486A-8574-045C5496643F}" dt="2021-07-21T13:03:17.735" v="55"/>
      <pc:docMkLst>
        <pc:docMk/>
      </pc:docMkLst>
      <pc:sldChg chg="modSp">
        <pc:chgData name="Kuhn, Alexander" userId="S::uygeo@student.kit.edu::e6fa5008-0428-489e-9b07-397695ad69a4" providerId="AD" clId="Web-{1F7FB735-6CE3-486A-8574-045C5496643F}" dt="2021-07-21T12:54:46.129" v="2" actId="20577"/>
        <pc:sldMkLst>
          <pc:docMk/>
          <pc:sldMk cId="1780877689" sldId="455"/>
        </pc:sldMkLst>
        <pc:spChg chg="mod">
          <ac:chgData name="Kuhn, Alexander" userId="S::uygeo@student.kit.edu::e6fa5008-0428-489e-9b07-397695ad69a4" providerId="AD" clId="Web-{1F7FB735-6CE3-486A-8574-045C5496643F}" dt="2021-07-21T12:54:46.129" v="2" actId="20577"/>
          <ac:spMkLst>
            <pc:docMk/>
            <pc:sldMk cId="1780877689" sldId="455"/>
            <ac:spMk id="6" creationId="{ECB99DAC-BA04-4400-B88D-735C8CA837B8}"/>
          </ac:spMkLst>
        </pc:spChg>
      </pc:sldChg>
      <pc:sldChg chg="addSp modSp">
        <pc:chgData name="Kuhn, Alexander" userId="S::uygeo@student.kit.edu::e6fa5008-0428-489e-9b07-397695ad69a4" providerId="AD" clId="Web-{1F7FB735-6CE3-486A-8574-045C5496643F}" dt="2021-07-21T13:03:17.735" v="55"/>
        <pc:sldMkLst>
          <pc:docMk/>
          <pc:sldMk cId="3024107589" sldId="1059"/>
        </pc:sldMkLst>
        <pc:spChg chg="add mod">
          <ac:chgData name="Kuhn, Alexander" userId="S::uygeo@student.kit.edu::e6fa5008-0428-489e-9b07-397695ad69a4" providerId="AD" clId="Web-{1F7FB735-6CE3-486A-8574-045C5496643F}" dt="2021-07-21T13:03:17.735" v="55"/>
          <ac:spMkLst>
            <pc:docMk/>
            <pc:sldMk cId="3024107589" sldId="1059"/>
            <ac:spMk id="7" creationId="{AC84FA05-8CE4-42EF-B0CD-C615A1614CC2}"/>
          </ac:spMkLst>
        </pc:spChg>
        <pc:picChg chg="add mod">
          <ac:chgData name="Kuhn, Alexander" userId="S::uygeo@student.kit.edu::e6fa5008-0428-489e-9b07-397695ad69a4" providerId="AD" clId="Web-{1F7FB735-6CE3-486A-8574-045C5496643F}" dt="2021-07-21T13:03:13.016" v="53" actId="1076"/>
          <ac:picMkLst>
            <pc:docMk/>
            <pc:sldMk cId="3024107589" sldId="1059"/>
            <ac:picMk id="3" creationId="{78F53D34-C3B1-45F8-9B48-DA6CBDB6AEC6}"/>
          </ac:picMkLst>
        </pc:picChg>
      </pc:sldChg>
      <pc:sldChg chg="modSp">
        <pc:chgData name="Kuhn, Alexander" userId="S::uygeo@student.kit.edu::e6fa5008-0428-489e-9b07-397695ad69a4" providerId="AD" clId="Web-{1F7FB735-6CE3-486A-8574-045C5496643F}" dt="2021-07-21T12:58:07.227" v="51" actId="20577"/>
        <pc:sldMkLst>
          <pc:docMk/>
          <pc:sldMk cId="844776175" sldId="1061"/>
        </pc:sldMkLst>
        <pc:spChg chg="mod">
          <ac:chgData name="Kuhn, Alexander" userId="S::uygeo@student.kit.edu::e6fa5008-0428-489e-9b07-397695ad69a4" providerId="AD" clId="Web-{1F7FB735-6CE3-486A-8574-045C5496643F}" dt="2021-07-21T12:58:07.227" v="51" actId="20577"/>
          <ac:spMkLst>
            <pc:docMk/>
            <pc:sldMk cId="844776175" sldId="1061"/>
            <ac:spMk id="5" creationId="{9C2C85E8-D848-4BA3-9BA8-E2A6D1C2221D}"/>
          </ac:spMkLst>
        </pc:spChg>
      </pc:sldChg>
    </pc:docChg>
  </pc:docChgLst>
  <pc:docChgLst>
    <pc:chgData name="Diener, David Philipp" userId="S::unkbu@student.kit.edu::ba55c3d9-c1b2-4644-86f3-91300438b0f5" providerId="AD" clId="Web-{4C796A96-596C-4B1B-8DF6-7444FBDF4C0C}"/>
    <pc:docChg chg="modSld">
      <pc:chgData name="Diener, David Philipp" userId="S::unkbu@student.kit.edu::ba55c3d9-c1b2-4644-86f3-91300438b0f5" providerId="AD" clId="Web-{4C796A96-596C-4B1B-8DF6-7444FBDF4C0C}" dt="2021-07-22T12:13:09.971" v="5" actId="20577"/>
      <pc:docMkLst>
        <pc:docMk/>
      </pc:docMkLst>
      <pc:sldChg chg="modSp">
        <pc:chgData name="Diener, David Philipp" userId="S::unkbu@student.kit.edu::ba55c3d9-c1b2-4644-86f3-91300438b0f5" providerId="AD" clId="Web-{4C796A96-596C-4B1B-8DF6-7444FBDF4C0C}" dt="2021-07-22T12:13:09.971" v="5" actId="20577"/>
        <pc:sldMkLst>
          <pc:docMk/>
          <pc:sldMk cId="1233787424" sldId="1051"/>
        </pc:sldMkLst>
        <pc:spChg chg="mod">
          <ac:chgData name="Diener, David Philipp" userId="S::unkbu@student.kit.edu::ba55c3d9-c1b2-4644-86f3-91300438b0f5" providerId="AD" clId="Web-{4C796A96-596C-4B1B-8DF6-7444FBDF4C0C}" dt="2021-07-22T12:13:09.971" v="5" actId="20577"/>
          <ac:spMkLst>
            <pc:docMk/>
            <pc:sldMk cId="1233787424" sldId="1051"/>
            <ac:spMk id="9" creationId="{D4AA208F-F474-4CC9-BF80-B48942BF803C}"/>
          </ac:spMkLst>
        </pc:spChg>
      </pc:sldChg>
    </pc:docChg>
  </pc:docChgLst>
  <pc:docChgLst>
    <pc:chgData name="Kuhn, Alexander" userId="S::uygeo@student.kit.edu::e6fa5008-0428-489e-9b07-397695ad69a4" providerId="AD" clId="Web-{DF9044F3-9BB6-44C1-BD77-CFF88625876C}"/>
    <pc:docChg chg="modSld">
      <pc:chgData name="Kuhn, Alexander" userId="S::uygeo@student.kit.edu::e6fa5008-0428-489e-9b07-397695ad69a4" providerId="AD" clId="Web-{DF9044F3-9BB6-44C1-BD77-CFF88625876C}" dt="2021-07-22T20:47:10.593" v="37" actId="14100"/>
      <pc:docMkLst>
        <pc:docMk/>
      </pc:docMkLst>
      <pc:sldChg chg="addSp delSp modSp">
        <pc:chgData name="Kuhn, Alexander" userId="S::uygeo@student.kit.edu::e6fa5008-0428-489e-9b07-397695ad69a4" providerId="AD" clId="Web-{DF9044F3-9BB6-44C1-BD77-CFF88625876C}" dt="2021-07-22T20:47:10.593" v="37" actId="14100"/>
        <pc:sldMkLst>
          <pc:docMk/>
          <pc:sldMk cId="3024107589" sldId="1059"/>
        </pc:sldMkLst>
        <pc:picChg chg="add del mod">
          <ac:chgData name="Kuhn, Alexander" userId="S::uygeo@student.kit.edu::e6fa5008-0428-489e-9b07-397695ad69a4" providerId="AD" clId="Web-{DF9044F3-9BB6-44C1-BD77-CFF88625876C}" dt="2021-07-22T20:45:52.091" v="31"/>
          <ac:picMkLst>
            <pc:docMk/>
            <pc:sldMk cId="3024107589" sldId="1059"/>
            <ac:picMk id="3" creationId="{13567941-3B4A-4926-B13F-8E795CAED6ED}"/>
          </ac:picMkLst>
        </pc:picChg>
        <pc:picChg chg="add del mod">
          <ac:chgData name="Kuhn, Alexander" userId="S::uygeo@student.kit.edu::e6fa5008-0428-489e-9b07-397695ad69a4" providerId="AD" clId="Web-{DF9044F3-9BB6-44C1-BD77-CFF88625876C}" dt="2021-07-22T20:43:39.338" v="9"/>
          <ac:picMkLst>
            <pc:docMk/>
            <pc:sldMk cId="3024107589" sldId="1059"/>
            <ac:picMk id="7" creationId="{D9722990-41FF-4798-8633-1EA9C84BFD2A}"/>
          </ac:picMkLst>
        </pc:picChg>
        <pc:picChg chg="add del mod">
          <ac:chgData name="Kuhn, Alexander" userId="S::uygeo@student.kit.edu::e6fa5008-0428-489e-9b07-397695ad69a4" providerId="AD" clId="Web-{DF9044F3-9BB6-44C1-BD77-CFF88625876C}" dt="2021-07-22T20:44:49.293" v="24"/>
          <ac:picMkLst>
            <pc:docMk/>
            <pc:sldMk cId="3024107589" sldId="1059"/>
            <ac:picMk id="8" creationId="{A7AC49D7-60AD-43BF-97FE-08988D2CD163}"/>
          </ac:picMkLst>
        </pc:picChg>
        <pc:picChg chg="add del mod">
          <ac:chgData name="Kuhn, Alexander" userId="S::uygeo@student.kit.edu::e6fa5008-0428-489e-9b07-397695ad69a4" providerId="AD" clId="Web-{DF9044F3-9BB6-44C1-BD77-CFF88625876C}" dt="2021-07-22T20:45:14.262" v="27"/>
          <ac:picMkLst>
            <pc:docMk/>
            <pc:sldMk cId="3024107589" sldId="1059"/>
            <ac:picMk id="9" creationId="{B1529ACE-6D33-4A6C-9E36-8DF00EF9C04C}"/>
          </ac:picMkLst>
        </pc:picChg>
        <pc:picChg chg="add mod">
          <ac:chgData name="Kuhn, Alexander" userId="S::uygeo@student.kit.edu::e6fa5008-0428-489e-9b07-397695ad69a4" providerId="AD" clId="Web-{DF9044F3-9BB6-44C1-BD77-CFF88625876C}" dt="2021-07-22T20:47:04.562" v="36" actId="1076"/>
          <ac:picMkLst>
            <pc:docMk/>
            <pc:sldMk cId="3024107589" sldId="1059"/>
            <ac:picMk id="12" creationId="{F8278339-AB1A-43FF-BB7E-55A91ED27501}"/>
          </ac:picMkLst>
        </pc:picChg>
        <pc:picChg chg="del">
          <ac:chgData name="Kuhn, Alexander" userId="S::uygeo@student.kit.edu::e6fa5008-0428-489e-9b07-397695ad69a4" providerId="AD" clId="Web-{DF9044F3-9BB6-44C1-BD77-CFF88625876C}" dt="2021-07-22T20:44:19.652" v="19"/>
          <ac:picMkLst>
            <pc:docMk/>
            <pc:sldMk cId="3024107589" sldId="1059"/>
            <ac:picMk id="13" creationId="{E4A5FEA0-A033-467E-8165-524B06337258}"/>
          </ac:picMkLst>
        </pc:picChg>
        <pc:picChg chg="del">
          <ac:chgData name="Kuhn, Alexander" userId="S::uygeo@student.kit.edu::e6fa5008-0428-489e-9b07-397695ad69a4" providerId="AD" clId="Web-{DF9044F3-9BB6-44C1-BD77-CFF88625876C}" dt="2021-07-22T20:44:04.042" v="12"/>
          <ac:picMkLst>
            <pc:docMk/>
            <pc:sldMk cId="3024107589" sldId="1059"/>
            <ac:picMk id="14" creationId="{F77E1EB6-F59B-4A6A-8048-CF2F75A29EFD}"/>
          </ac:picMkLst>
        </pc:picChg>
        <pc:picChg chg="add mod">
          <ac:chgData name="Kuhn, Alexander" userId="S::uygeo@student.kit.edu::e6fa5008-0428-489e-9b07-397695ad69a4" providerId="AD" clId="Web-{DF9044F3-9BB6-44C1-BD77-CFF88625876C}" dt="2021-07-22T20:47:10.593" v="37" actId="14100"/>
          <ac:picMkLst>
            <pc:docMk/>
            <pc:sldMk cId="3024107589" sldId="1059"/>
            <ac:picMk id="17" creationId="{C1F1FBE8-DCCA-44D4-9823-9CAAE15E3BEE}"/>
          </ac:picMkLst>
        </pc:picChg>
      </pc:sldChg>
    </pc:docChg>
  </pc:docChgLst>
  <pc:docChgLst>
    <pc:chgData name="Kuhn, Alexander" userId="S::uygeo@student.kit.edu::e6fa5008-0428-489e-9b07-397695ad69a4" providerId="AD" clId="Web-{D624A825-C3D0-4CB5-935D-3FB05B98BAA9}"/>
    <pc:docChg chg="modSld">
      <pc:chgData name="Kuhn, Alexander" userId="S::uygeo@student.kit.edu::e6fa5008-0428-489e-9b07-397695ad69a4" providerId="AD" clId="Web-{D624A825-C3D0-4CB5-935D-3FB05B98BAA9}" dt="2021-07-22T21:19:49.830" v="76" actId="1076"/>
      <pc:docMkLst>
        <pc:docMk/>
      </pc:docMkLst>
      <pc:sldChg chg="addSp delSp modSp">
        <pc:chgData name="Kuhn, Alexander" userId="S::uygeo@student.kit.edu::e6fa5008-0428-489e-9b07-397695ad69a4" providerId="AD" clId="Web-{D624A825-C3D0-4CB5-935D-3FB05B98BAA9}" dt="2021-07-22T21:19:49.830" v="76" actId="1076"/>
        <pc:sldMkLst>
          <pc:docMk/>
          <pc:sldMk cId="3036264069" sldId="1040"/>
        </pc:sldMkLst>
        <pc:picChg chg="add del mod">
          <ac:chgData name="Kuhn, Alexander" userId="S::uygeo@student.kit.edu::e6fa5008-0428-489e-9b07-397695ad69a4" providerId="AD" clId="Web-{D624A825-C3D0-4CB5-935D-3FB05B98BAA9}" dt="2021-07-22T21:14:28.557" v="54"/>
          <ac:picMkLst>
            <pc:docMk/>
            <pc:sldMk cId="3036264069" sldId="1040"/>
            <ac:picMk id="5" creationId="{717A1E03-37A4-4928-9191-AE752005E613}"/>
          </ac:picMkLst>
        </pc:picChg>
        <pc:picChg chg="add mod">
          <ac:chgData name="Kuhn, Alexander" userId="S::uygeo@student.kit.edu::e6fa5008-0428-489e-9b07-397695ad69a4" providerId="AD" clId="Web-{D624A825-C3D0-4CB5-935D-3FB05B98BAA9}" dt="2021-07-22T21:19:49.830" v="76" actId="1076"/>
          <ac:picMkLst>
            <pc:docMk/>
            <pc:sldMk cId="3036264069" sldId="1040"/>
            <ac:picMk id="11" creationId="{8FFB263A-2240-442A-BA16-3A8A2A0CB33C}"/>
          </ac:picMkLst>
        </pc:picChg>
        <pc:picChg chg="mod">
          <ac:chgData name="Kuhn, Alexander" userId="S::uygeo@student.kit.edu::e6fa5008-0428-489e-9b07-397695ad69a4" providerId="AD" clId="Web-{D624A825-C3D0-4CB5-935D-3FB05B98BAA9}" dt="2021-07-22T21:18:53.282" v="69" actId="1076"/>
          <ac:picMkLst>
            <pc:docMk/>
            <pc:sldMk cId="3036264069" sldId="1040"/>
            <ac:picMk id="1030" creationId="{89CA8FE6-1B18-412E-90D0-606198CE47E3}"/>
          </ac:picMkLst>
        </pc:picChg>
      </pc:sldChg>
      <pc:sldChg chg="addSp delSp modSp">
        <pc:chgData name="Kuhn, Alexander" userId="S::uygeo@student.kit.edu::e6fa5008-0428-489e-9b07-397695ad69a4" providerId="AD" clId="Web-{D624A825-C3D0-4CB5-935D-3FB05B98BAA9}" dt="2021-07-22T21:06:18.950" v="52" actId="14100"/>
        <pc:sldMkLst>
          <pc:docMk/>
          <pc:sldMk cId="3523576549" sldId="1056"/>
        </pc:sldMkLst>
        <pc:picChg chg="add del mod">
          <ac:chgData name="Kuhn, Alexander" userId="S::uygeo@student.kit.edu::e6fa5008-0428-489e-9b07-397695ad69a4" providerId="AD" clId="Web-{D624A825-C3D0-4CB5-935D-3FB05B98BAA9}" dt="2021-07-22T20:58:54.125" v="2"/>
          <ac:picMkLst>
            <pc:docMk/>
            <pc:sldMk cId="3523576549" sldId="1056"/>
            <ac:picMk id="4" creationId="{BB3D9E03-FDBA-4F7E-AEA0-17DBA9864B2B}"/>
          </ac:picMkLst>
        </pc:picChg>
        <pc:picChg chg="del">
          <ac:chgData name="Kuhn, Alexander" userId="S::uygeo@student.kit.edu::e6fa5008-0428-489e-9b07-397695ad69a4" providerId="AD" clId="Web-{D624A825-C3D0-4CB5-935D-3FB05B98BAA9}" dt="2021-07-22T20:59:55.157" v="3"/>
          <ac:picMkLst>
            <pc:docMk/>
            <pc:sldMk cId="3523576549" sldId="1056"/>
            <ac:picMk id="5" creationId="{6B91AA8B-E8BA-458D-BC25-02544CFB7D2A}"/>
          </ac:picMkLst>
        </pc:picChg>
        <pc:picChg chg="add del mod">
          <ac:chgData name="Kuhn, Alexander" userId="S::uygeo@student.kit.edu::e6fa5008-0428-489e-9b07-397695ad69a4" providerId="AD" clId="Web-{D624A825-C3D0-4CB5-935D-3FB05B98BAA9}" dt="2021-07-22T21:02:09.444" v="22"/>
          <ac:picMkLst>
            <pc:docMk/>
            <pc:sldMk cId="3523576549" sldId="1056"/>
            <ac:picMk id="6" creationId="{49E926E2-1530-4039-B18D-0A019C49DDC5}"/>
          </ac:picMkLst>
        </pc:picChg>
        <pc:picChg chg="del">
          <ac:chgData name="Kuhn, Alexander" userId="S::uygeo@student.kit.edu::e6fa5008-0428-489e-9b07-397695ad69a4" providerId="AD" clId="Web-{D624A825-C3D0-4CB5-935D-3FB05B98BAA9}" dt="2021-07-22T21:04:32.963" v="31"/>
          <ac:picMkLst>
            <pc:docMk/>
            <pc:sldMk cId="3523576549" sldId="1056"/>
            <ac:picMk id="7" creationId="{BE39E4BB-5F82-4190-B4D0-52EB49D880AC}"/>
          </ac:picMkLst>
        </pc:picChg>
        <pc:picChg chg="add mod">
          <ac:chgData name="Kuhn, Alexander" userId="S::uygeo@student.kit.edu::e6fa5008-0428-489e-9b07-397695ad69a4" providerId="AD" clId="Web-{D624A825-C3D0-4CB5-935D-3FB05B98BAA9}" dt="2021-07-22T21:02:14.100" v="23" actId="1076"/>
          <ac:picMkLst>
            <pc:docMk/>
            <pc:sldMk cId="3523576549" sldId="1056"/>
            <ac:picMk id="8" creationId="{71AC1A79-323B-47A5-ABBD-24EEE9BF112E}"/>
          </ac:picMkLst>
        </pc:picChg>
        <pc:picChg chg="add mod">
          <ac:chgData name="Kuhn, Alexander" userId="S::uygeo@student.kit.edu::e6fa5008-0428-489e-9b07-397695ad69a4" providerId="AD" clId="Web-{D624A825-C3D0-4CB5-935D-3FB05B98BAA9}" dt="2021-07-22T21:02:28.053" v="26" actId="14100"/>
          <ac:picMkLst>
            <pc:docMk/>
            <pc:sldMk cId="3523576549" sldId="1056"/>
            <ac:picMk id="9" creationId="{1463D5E7-077E-4CFB-8445-6F10349372BB}"/>
          </ac:picMkLst>
        </pc:picChg>
        <pc:picChg chg="add mod">
          <ac:chgData name="Kuhn, Alexander" userId="S::uygeo@student.kit.edu::e6fa5008-0428-489e-9b07-397695ad69a4" providerId="AD" clId="Web-{D624A825-C3D0-4CB5-935D-3FB05B98BAA9}" dt="2021-07-22T21:06:00.637" v="50" actId="14100"/>
          <ac:picMkLst>
            <pc:docMk/>
            <pc:sldMk cId="3523576549" sldId="1056"/>
            <ac:picMk id="10" creationId="{0AFFC65F-8313-4F15-A828-7838F6161B19}"/>
          </ac:picMkLst>
        </pc:picChg>
        <pc:picChg chg="add mod">
          <ac:chgData name="Kuhn, Alexander" userId="S::uygeo@student.kit.edu::e6fa5008-0428-489e-9b07-397695ad69a4" providerId="AD" clId="Web-{D624A825-C3D0-4CB5-935D-3FB05B98BAA9}" dt="2021-07-22T21:05:06.292" v="40" actId="1076"/>
          <ac:picMkLst>
            <pc:docMk/>
            <pc:sldMk cId="3523576549" sldId="1056"/>
            <ac:picMk id="11" creationId="{C7FC0CE7-84A2-4749-8FF7-D06771FD0744}"/>
          </ac:picMkLst>
        </pc:picChg>
        <pc:picChg chg="add mod">
          <ac:chgData name="Kuhn, Alexander" userId="S::uygeo@student.kit.edu::e6fa5008-0428-489e-9b07-397695ad69a4" providerId="AD" clId="Web-{D624A825-C3D0-4CB5-935D-3FB05B98BAA9}" dt="2021-07-22T21:06:18.950" v="52" actId="14100"/>
          <ac:picMkLst>
            <pc:docMk/>
            <pc:sldMk cId="3523576549" sldId="1056"/>
            <ac:picMk id="12" creationId="{2A7A66CE-A81C-401B-8E1D-03A4FCD55148}"/>
          </ac:picMkLst>
        </pc:picChg>
        <pc:picChg chg="add mod">
          <ac:chgData name="Kuhn, Alexander" userId="S::uygeo@student.kit.edu::e6fa5008-0428-489e-9b07-397695ad69a4" providerId="AD" clId="Web-{D624A825-C3D0-4CB5-935D-3FB05B98BAA9}" dt="2021-07-22T21:05:55.199" v="49" actId="14100"/>
          <ac:picMkLst>
            <pc:docMk/>
            <pc:sldMk cId="3523576549" sldId="1056"/>
            <ac:picMk id="13" creationId="{BAECF3C6-66D7-47A6-8309-3093D78D8F51}"/>
          </ac:picMkLst>
        </pc:picChg>
      </pc:sldChg>
    </pc:docChg>
  </pc:docChgLst>
  <pc:docChgLst>
    <pc:chgData name="Kuhn, Alexander" userId="S::uygeo@student.kit.edu::e6fa5008-0428-489e-9b07-397695ad69a4" providerId="AD" clId="Web-{901D7401-7C70-4A12-BE9C-C999C99436BD}"/>
    <pc:docChg chg="addSld delSld modSld modSection">
      <pc:chgData name="Kuhn, Alexander" userId="S::uygeo@student.kit.edu::e6fa5008-0428-489e-9b07-397695ad69a4" providerId="AD" clId="Web-{901D7401-7C70-4A12-BE9C-C999C99436BD}" dt="2021-07-21T14:05:16.860" v="55" actId="20577"/>
      <pc:docMkLst>
        <pc:docMk/>
      </pc:docMkLst>
      <pc:sldChg chg="addSp delSp modSp">
        <pc:chgData name="Kuhn, Alexander" userId="S::uygeo@student.kit.edu::e6fa5008-0428-489e-9b07-397695ad69a4" providerId="AD" clId="Web-{901D7401-7C70-4A12-BE9C-C999C99436BD}" dt="2021-07-21T14:03:07.076" v="52"/>
        <pc:sldMkLst>
          <pc:docMk/>
          <pc:sldMk cId="3591796391" sldId="1041"/>
        </pc:sldMkLst>
        <pc:picChg chg="add del mod">
          <ac:chgData name="Kuhn, Alexander" userId="S::uygeo@student.kit.edu::e6fa5008-0428-489e-9b07-397695ad69a4" providerId="AD" clId="Web-{901D7401-7C70-4A12-BE9C-C999C99436BD}" dt="2021-07-21T14:03:07.076" v="52"/>
          <ac:picMkLst>
            <pc:docMk/>
            <pc:sldMk cId="3591796391" sldId="1041"/>
            <ac:picMk id="3" creationId="{43C1A315-CFB3-4716-9D75-5B66EA69B8AD}"/>
          </ac:picMkLst>
        </pc:picChg>
        <pc:picChg chg="add del mod">
          <ac:chgData name="Kuhn, Alexander" userId="S::uygeo@student.kit.edu::e6fa5008-0428-489e-9b07-397695ad69a4" providerId="AD" clId="Web-{901D7401-7C70-4A12-BE9C-C999C99436BD}" dt="2021-07-21T14:02:35.091" v="46"/>
          <ac:picMkLst>
            <pc:docMk/>
            <pc:sldMk cId="3591796391" sldId="1041"/>
            <ac:picMk id="5" creationId="{61930AF0-A7D0-45DE-93FD-DC47CDF84503}"/>
          </ac:picMkLst>
        </pc:picChg>
      </pc:sldChg>
      <pc:sldChg chg="addSp delSp modSp">
        <pc:chgData name="Kuhn, Alexander" userId="S::uygeo@student.kit.edu::e6fa5008-0428-489e-9b07-397695ad69a4" providerId="AD" clId="Web-{901D7401-7C70-4A12-BE9C-C999C99436BD}" dt="2021-07-21T13:46:11.104" v="29" actId="14100"/>
        <pc:sldMkLst>
          <pc:docMk/>
          <pc:sldMk cId="844776175" sldId="1061"/>
        </pc:sldMkLst>
        <pc:spChg chg="add del mod">
          <ac:chgData name="Kuhn, Alexander" userId="S::uygeo@student.kit.edu::e6fa5008-0428-489e-9b07-397695ad69a4" providerId="AD" clId="Web-{901D7401-7C70-4A12-BE9C-C999C99436BD}" dt="2021-07-21T13:24:17.813" v="11"/>
          <ac:spMkLst>
            <pc:docMk/>
            <pc:sldMk cId="844776175" sldId="1061"/>
            <ac:spMk id="10" creationId="{08D05318-1603-40CF-A223-6A431953F20D}"/>
          </ac:spMkLst>
        </pc:spChg>
        <pc:spChg chg="add mod">
          <ac:chgData name="Kuhn, Alexander" userId="S::uygeo@student.kit.edu::e6fa5008-0428-489e-9b07-397695ad69a4" providerId="AD" clId="Web-{901D7401-7C70-4A12-BE9C-C999C99436BD}" dt="2021-07-21T13:24:43.782" v="13" actId="1076"/>
          <ac:spMkLst>
            <pc:docMk/>
            <pc:sldMk cId="844776175" sldId="1061"/>
            <ac:spMk id="11" creationId="{3ED10F89-5521-46B3-ABA1-FFA557FD45C0}"/>
          </ac:spMkLst>
        </pc:spChg>
        <pc:picChg chg="add mod ord">
          <ac:chgData name="Kuhn, Alexander" userId="S::uygeo@student.kit.edu::e6fa5008-0428-489e-9b07-397695ad69a4" providerId="AD" clId="Web-{901D7401-7C70-4A12-BE9C-C999C99436BD}" dt="2021-07-21T13:30:56.273" v="18" actId="1076"/>
          <ac:picMkLst>
            <pc:docMk/>
            <pc:sldMk cId="844776175" sldId="1061"/>
            <ac:picMk id="4" creationId="{72FB8E7E-B920-4F7E-A903-4427DF63E6B4}"/>
          </ac:picMkLst>
        </pc:picChg>
        <pc:picChg chg="add mod">
          <ac:chgData name="Kuhn, Alexander" userId="S::uygeo@student.kit.edu::e6fa5008-0428-489e-9b07-397695ad69a4" providerId="AD" clId="Web-{901D7401-7C70-4A12-BE9C-C999C99436BD}" dt="2021-07-21T13:46:11.104" v="29" actId="14100"/>
          <ac:picMkLst>
            <pc:docMk/>
            <pc:sldMk cId="844776175" sldId="1061"/>
            <ac:picMk id="10" creationId="{B2FEC1B5-FBA2-4C54-BEEC-5600D778CB9F}"/>
          </ac:picMkLst>
        </pc:picChg>
        <pc:picChg chg="add mod">
          <ac:chgData name="Kuhn, Alexander" userId="S::uygeo@student.kit.edu::e6fa5008-0428-489e-9b07-397695ad69a4" providerId="AD" clId="Web-{901D7401-7C70-4A12-BE9C-C999C99436BD}" dt="2021-07-21T13:43:21.053" v="25" actId="1076"/>
          <ac:picMkLst>
            <pc:docMk/>
            <pc:sldMk cId="844776175" sldId="1061"/>
            <ac:picMk id="18" creationId="{3D9AB8E2-FE41-441B-8371-77613DDB8F88}"/>
          </ac:picMkLst>
        </pc:picChg>
      </pc:sldChg>
      <pc:sldChg chg="del">
        <pc:chgData name="Kuhn, Alexander" userId="S::uygeo@student.kit.edu::e6fa5008-0428-489e-9b07-397695ad69a4" providerId="AD" clId="Web-{901D7401-7C70-4A12-BE9C-C999C99436BD}" dt="2021-07-21T13:56:06.787" v="31"/>
        <pc:sldMkLst>
          <pc:docMk/>
          <pc:sldMk cId="1017013082" sldId="1068"/>
        </pc:sldMkLst>
      </pc:sldChg>
      <pc:sldChg chg="modSp">
        <pc:chgData name="Kuhn, Alexander" userId="S::uygeo@student.kit.edu::e6fa5008-0428-489e-9b07-397695ad69a4" providerId="AD" clId="Web-{901D7401-7C70-4A12-BE9C-C999C99436BD}" dt="2021-07-21T13:50:16.483" v="30" actId="1076"/>
        <pc:sldMkLst>
          <pc:docMk/>
          <pc:sldMk cId="2276500948" sldId="1069"/>
        </pc:sldMkLst>
        <pc:picChg chg="mod">
          <ac:chgData name="Kuhn, Alexander" userId="S::uygeo@student.kit.edu::e6fa5008-0428-489e-9b07-397695ad69a4" providerId="AD" clId="Web-{901D7401-7C70-4A12-BE9C-C999C99436BD}" dt="2021-07-21T13:50:16.483" v="30" actId="1076"/>
          <ac:picMkLst>
            <pc:docMk/>
            <pc:sldMk cId="2276500948" sldId="1069"/>
            <ac:picMk id="14" creationId="{52BF610D-A15E-4468-8267-BFACB1E2E26F}"/>
          </ac:picMkLst>
        </pc:picChg>
      </pc:sldChg>
      <pc:sldChg chg="add del replId">
        <pc:chgData name="Kuhn, Alexander" userId="S::uygeo@student.kit.edu::e6fa5008-0428-489e-9b07-397695ad69a4" providerId="AD" clId="Web-{901D7401-7C70-4A12-BE9C-C999C99436BD}" dt="2021-07-21T13:23:58.578" v="7"/>
        <pc:sldMkLst>
          <pc:docMk/>
          <pc:sldMk cId="854872157" sldId="1070"/>
        </pc:sldMkLst>
      </pc:sldChg>
      <pc:sldChg chg="modSp">
        <pc:chgData name="Kuhn, Alexander" userId="S::uygeo@student.kit.edu::e6fa5008-0428-489e-9b07-397695ad69a4" providerId="AD" clId="Web-{901D7401-7C70-4A12-BE9C-C999C99436BD}" dt="2021-07-21T14:05:16.860" v="55" actId="20577"/>
        <pc:sldMkLst>
          <pc:docMk/>
          <pc:sldMk cId="232472436" sldId="1071"/>
        </pc:sldMkLst>
        <pc:spChg chg="mod">
          <ac:chgData name="Kuhn, Alexander" userId="S::uygeo@student.kit.edu::e6fa5008-0428-489e-9b07-397695ad69a4" providerId="AD" clId="Web-{901D7401-7C70-4A12-BE9C-C999C99436BD}" dt="2021-07-21T14:05:16.860" v="55" actId="20577"/>
          <ac:spMkLst>
            <pc:docMk/>
            <pc:sldMk cId="232472436" sldId="1071"/>
            <ac:spMk id="2" creationId="{86940D52-CAF7-46D5-9BE7-77616DCDC369}"/>
          </ac:spMkLst>
        </pc:spChg>
      </pc:sldChg>
    </pc:docChg>
  </pc:docChgLst>
  <pc:docChgLst>
    <pc:chgData name="Loy, Johannes Leopold" userId="49a6c0e1-2baa-4b01-8f84-048a6dcfd176" providerId="ADAL" clId="{24102215-8B6D-4380-8009-822541669133}"/>
    <pc:docChg chg="undo custSel addSld delSld modSld sldOrd modSection">
      <pc:chgData name="Loy, Johannes Leopold" userId="49a6c0e1-2baa-4b01-8f84-048a6dcfd176" providerId="ADAL" clId="{24102215-8B6D-4380-8009-822541669133}" dt="2021-07-22T20:41:54.626" v="2388" actId="1076"/>
      <pc:docMkLst>
        <pc:docMk/>
      </pc:docMkLst>
      <pc:sldChg chg="modSp mod ord">
        <pc:chgData name="Loy, Johannes Leopold" userId="49a6c0e1-2baa-4b01-8f84-048a6dcfd176" providerId="ADAL" clId="{24102215-8B6D-4380-8009-822541669133}" dt="2021-07-21T14:13:47.235" v="1075" actId="20577"/>
        <pc:sldMkLst>
          <pc:docMk/>
          <pc:sldMk cId="2181898947" sldId="259"/>
        </pc:sldMkLst>
        <pc:spChg chg="mod">
          <ac:chgData name="Loy, Johannes Leopold" userId="49a6c0e1-2baa-4b01-8f84-048a6dcfd176" providerId="ADAL" clId="{24102215-8B6D-4380-8009-822541669133}" dt="2021-07-21T14:13:47.235" v="1075" actId="20577"/>
          <ac:spMkLst>
            <pc:docMk/>
            <pc:sldMk cId="2181898947" sldId="259"/>
            <ac:spMk id="2" creationId="{3F956537-FF29-47EA-848B-BBFC8DFE044D}"/>
          </ac:spMkLst>
        </pc:spChg>
      </pc:sldChg>
      <pc:sldChg chg="modSp mod ord">
        <pc:chgData name="Loy, Johannes Leopold" userId="49a6c0e1-2baa-4b01-8f84-048a6dcfd176" providerId="ADAL" clId="{24102215-8B6D-4380-8009-822541669133}" dt="2021-07-21T14:15:44.788" v="1114" actId="20577"/>
        <pc:sldMkLst>
          <pc:docMk/>
          <pc:sldMk cId="1863091297" sldId="260"/>
        </pc:sldMkLst>
        <pc:spChg chg="mod">
          <ac:chgData name="Loy, Johannes Leopold" userId="49a6c0e1-2baa-4b01-8f84-048a6dcfd176" providerId="ADAL" clId="{24102215-8B6D-4380-8009-822541669133}" dt="2021-07-21T14:15:44.788" v="1114" actId="20577"/>
          <ac:spMkLst>
            <pc:docMk/>
            <pc:sldMk cId="1863091297" sldId="260"/>
            <ac:spMk id="2" creationId="{82BDBB43-F957-4A08-8D1A-233B2B5AA4C3}"/>
          </ac:spMkLst>
        </pc:spChg>
      </pc:sldChg>
      <pc:sldChg chg="modSp mod ord">
        <pc:chgData name="Loy, Johannes Leopold" userId="49a6c0e1-2baa-4b01-8f84-048a6dcfd176" providerId="ADAL" clId="{24102215-8B6D-4380-8009-822541669133}" dt="2021-07-21T14:13:59.608" v="1091" actId="20577"/>
        <pc:sldMkLst>
          <pc:docMk/>
          <pc:sldMk cId="3112367666" sldId="261"/>
        </pc:sldMkLst>
        <pc:spChg chg="mod">
          <ac:chgData name="Loy, Johannes Leopold" userId="49a6c0e1-2baa-4b01-8f84-048a6dcfd176" providerId="ADAL" clId="{24102215-8B6D-4380-8009-822541669133}" dt="2021-07-21T14:13:59.608" v="1091" actId="20577"/>
          <ac:spMkLst>
            <pc:docMk/>
            <pc:sldMk cId="3112367666" sldId="261"/>
            <ac:spMk id="2" creationId="{CB02B9AF-BCC6-4338-8634-A717B83D16CA}"/>
          </ac:spMkLst>
        </pc:spChg>
      </pc:sldChg>
      <pc:sldChg chg="modSp mod ord">
        <pc:chgData name="Loy, Johannes Leopold" userId="49a6c0e1-2baa-4b01-8f84-048a6dcfd176" providerId="ADAL" clId="{24102215-8B6D-4380-8009-822541669133}" dt="2021-07-21T14:15:36.891" v="1105" actId="20577"/>
        <pc:sldMkLst>
          <pc:docMk/>
          <pc:sldMk cId="2654520558" sldId="262"/>
        </pc:sldMkLst>
        <pc:spChg chg="mod">
          <ac:chgData name="Loy, Johannes Leopold" userId="49a6c0e1-2baa-4b01-8f84-048a6dcfd176" providerId="ADAL" clId="{24102215-8B6D-4380-8009-822541669133}" dt="2021-07-21T14:15:36.891" v="1105" actId="20577"/>
          <ac:spMkLst>
            <pc:docMk/>
            <pc:sldMk cId="2654520558" sldId="262"/>
            <ac:spMk id="2" creationId="{91055FFB-0FE3-4437-BA64-E6B5275E5D0C}"/>
          </ac:spMkLst>
        </pc:spChg>
      </pc:sldChg>
      <pc:sldChg chg="modSp mod">
        <pc:chgData name="Loy, Johannes Leopold" userId="49a6c0e1-2baa-4b01-8f84-048a6dcfd176" providerId="ADAL" clId="{24102215-8B6D-4380-8009-822541669133}" dt="2021-07-21T12:54:31.778" v="3" actId="20577"/>
        <pc:sldMkLst>
          <pc:docMk/>
          <pc:sldMk cId="1780877689" sldId="455"/>
        </pc:sldMkLst>
        <pc:spChg chg="mod">
          <ac:chgData name="Loy, Johannes Leopold" userId="49a6c0e1-2baa-4b01-8f84-048a6dcfd176" providerId="ADAL" clId="{24102215-8B6D-4380-8009-822541669133}" dt="2021-07-21T12:54:31.778" v="3" actId="20577"/>
          <ac:spMkLst>
            <pc:docMk/>
            <pc:sldMk cId="1780877689" sldId="455"/>
            <ac:spMk id="3" creationId="{00000000-0000-0000-0000-000000000000}"/>
          </ac:spMkLst>
        </pc:spChg>
      </pc:sldChg>
      <pc:sldChg chg="modSp mod">
        <pc:chgData name="Loy, Johannes Leopold" userId="49a6c0e1-2baa-4b01-8f84-048a6dcfd176" providerId="ADAL" clId="{24102215-8B6D-4380-8009-822541669133}" dt="2021-07-22T20:27:00.072" v="2243" actId="1076"/>
        <pc:sldMkLst>
          <pc:docMk/>
          <pc:sldMk cId="3440437807" sldId="464"/>
        </pc:sldMkLst>
        <pc:spChg chg="mod">
          <ac:chgData name="Loy, Johannes Leopold" userId="49a6c0e1-2baa-4b01-8f84-048a6dcfd176" providerId="ADAL" clId="{24102215-8B6D-4380-8009-822541669133}" dt="2021-07-21T14:49:23.016" v="1586" actId="20577"/>
          <ac:spMkLst>
            <pc:docMk/>
            <pc:sldMk cId="3440437807" sldId="464"/>
            <ac:spMk id="3" creationId="{9BC78979-DBDA-4747-AA6D-15D9727DC225}"/>
          </ac:spMkLst>
        </pc:spChg>
        <pc:picChg chg="mod">
          <ac:chgData name="Loy, Johannes Leopold" userId="49a6c0e1-2baa-4b01-8f84-048a6dcfd176" providerId="ADAL" clId="{24102215-8B6D-4380-8009-822541669133}" dt="2021-07-22T20:27:00.072" v="2243" actId="1076"/>
          <ac:picMkLst>
            <pc:docMk/>
            <pc:sldMk cId="3440437807" sldId="464"/>
            <ac:picMk id="4" creationId="{967BC5FD-A888-4DED-9E9F-A8191A3179FA}"/>
          </ac:picMkLst>
        </pc:picChg>
      </pc:sldChg>
      <pc:sldChg chg="addSp delSp modSp mod">
        <pc:chgData name="Loy, Johannes Leopold" userId="49a6c0e1-2baa-4b01-8f84-048a6dcfd176" providerId="ADAL" clId="{24102215-8B6D-4380-8009-822541669133}" dt="2021-07-22T20:41:54.626" v="2388" actId="1076"/>
        <pc:sldMkLst>
          <pc:docMk/>
          <pc:sldMk cId="948010637" sldId="1012"/>
        </pc:sldMkLst>
        <pc:spChg chg="mod">
          <ac:chgData name="Loy, Johannes Leopold" userId="49a6c0e1-2baa-4b01-8f84-048a6dcfd176" providerId="ADAL" clId="{24102215-8B6D-4380-8009-822541669133}" dt="2021-07-21T14:45:41.146" v="1560" actId="20577"/>
          <ac:spMkLst>
            <pc:docMk/>
            <pc:sldMk cId="948010637" sldId="1012"/>
            <ac:spMk id="3" creationId="{59DD524C-EB46-4822-8BB8-54481945EA34}"/>
          </ac:spMkLst>
        </pc:spChg>
        <pc:spChg chg="add mod">
          <ac:chgData name="Loy, Johannes Leopold" userId="49a6c0e1-2baa-4b01-8f84-048a6dcfd176" providerId="ADAL" clId="{24102215-8B6D-4380-8009-822541669133}" dt="2021-07-22T20:41:15.728" v="2369" actId="1076"/>
          <ac:spMkLst>
            <pc:docMk/>
            <pc:sldMk cId="948010637" sldId="1012"/>
            <ac:spMk id="17" creationId="{5F69EF1F-F50C-4B14-B6D0-537B1396717C}"/>
          </ac:spMkLst>
        </pc:spChg>
        <pc:spChg chg="add mod">
          <ac:chgData name="Loy, Johannes Leopold" userId="49a6c0e1-2baa-4b01-8f84-048a6dcfd176" providerId="ADAL" clId="{24102215-8B6D-4380-8009-822541669133}" dt="2021-07-22T20:41:54.626" v="2388" actId="1076"/>
          <ac:spMkLst>
            <pc:docMk/>
            <pc:sldMk cId="948010637" sldId="1012"/>
            <ac:spMk id="18" creationId="{6BCD6841-7808-4F70-B542-6CF30F6D6981}"/>
          </ac:spMkLst>
        </pc:spChg>
        <pc:spChg chg="mod">
          <ac:chgData name="Loy, Johannes Leopold" userId="49a6c0e1-2baa-4b01-8f84-048a6dcfd176" providerId="ADAL" clId="{24102215-8B6D-4380-8009-822541669133}" dt="2021-07-21T14:45:30.945" v="1544" actId="20577"/>
          <ac:spMkLst>
            <pc:docMk/>
            <pc:sldMk cId="948010637" sldId="1012"/>
            <ac:spMk id="89" creationId="{8FDBE87C-FA8B-4CD0-93C8-CB9A505BB9F0}"/>
          </ac:spMkLst>
        </pc:spChg>
        <pc:picChg chg="add del mod">
          <ac:chgData name="Loy, Johannes Leopold" userId="49a6c0e1-2baa-4b01-8f84-048a6dcfd176" providerId="ADAL" clId="{24102215-8B6D-4380-8009-822541669133}" dt="2021-07-21T14:47:13.506" v="1574" actId="478"/>
          <ac:picMkLst>
            <pc:docMk/>
            <pc:sldMk cId="948010637" sldId="1012"/>
            <ac:picMk id="7" creationId="{BBE82FAB-E692-4496-BAD7-5FBF85BB8983}"/>
          </ac:picMkLst>
        </pc:picChg>
        <pc:picChg chg="add mod">
          <ac:chgData name="Loy, Johannes Leopold" userId="49a6c0e1-2baa-4b01-8f84-048a6dcfd176" providerId="ADAL" clId="{24102215-8B6D-4380-8009-822541669133}" dt="2021-07-21T14:47:19.937" v="1578" actId="1076"/>
          <ac:picMkLst>
            <pc:docMk/>
            <pc:sldMk cId="948010637" sldId="1012"/>
            <ac:picMk id="13" creationId="{267BBF8B-4B80-4FD8-815F-71B3F6E9432F}"/>
          </ac:picMkLst>
        </pc:picChg>
        <pc:picChg chg="mod">
          <ac:chgData name="Loy, Johannes Leopold" userId="49a6c0e1-2baa-4b01-8f84-048a6dcfd176" providerId="ADAL" clId="{24102215-8B6D-4380-8009-822541669133}" dt="2021-07-21T14:46:42.613" v="1568" actId="1076"/>
          <ac:picMkLst>
            <pc:docMk/>
            <pc:sldMk cId="948010637" sldId="1012"/>
            <ac:picMk id="96" creationId="{C0B73522-4100-469D-AC51-3476A4480636}"/>
          </ac:picMkLst>
        </pc:picChg>
        <pc:picChg chg="mod">
          <ac:chgData name="Loy, Johannes Leopold" userId="49a6c0e1-2baa-4b01-8f84-048a6dcfd176" providerId="ADAL" clId="{24102215-8B6D-4380-8009-822541669133}" dt="2021-07-21T14:46:42.613" v="1568" actId="1076"/>
          <ac:picMkLst>
            <pc:docMk/>
            <pc:sldMk cId="948010637" sldId="1012"/>
            <ac:picMk id="21505" creationId="{60941F53-0A45-4CA9-A6E8-532696FA481B}"/>
          </ac:picMkLst>
        </pc:picChg>
        <pc:picChg chg="del">
          <ac:chgData name="Loy, Johannes Leopold" userId="49a6c0e1-2baa-4b01-8f84-048a6dcfd176" providerId="ADAL" clId="{24102215-8B6D-4380-8009-822541669133}" dt="2021-07-21T14:46:27.081" v="1565" actId="478"/>
          <ac:picMkLst>
            <pc:docMk/>
            <pc:sldMk cId="948010637" sldId="1012"/>
            <ac:picMk id="21508" creationId="{0816A83C-8B72-4843-9727-6FDF6543ED3C}"/>
          </ac:picMkLst>
        </pc:picChg>
        <pc:cxnChg chg="mod">
          <ac:chgData name="Loy, Johannes Leopold" userId="49a6c0e1-2baa-4b01-8f84-048a6dcfd176" providerId="ADAL" clId="{24102215-8B6D-4380-8009-822541669133}" dt="2021-07-22T20:40:57.209" v="2367" actId="14100"/>
          <ac:cxnSpMkLst>
            <pc:docMk/>
            <pc:sldMk cId="948010637" sldId="1012"/>
            <ac:cxnSpMk id="77" creationId="{0951FCDB-52C1-4B97-83AD-723C84587C3F}"/>
          </ac:cxnSpMkLst>
        </pc:cxnChg>
      </pc:sldChg>
      <pc:sldChg chg="modSp mod modNotesTx">
        <pc:chgData name="Loy, Johannes Leopold" userId="49a6c0e1-2baa-4b01-8f84-048a6dcfd176" providerId="ADAL" clId="{24102215-8B6D-4380-8009-822541669133}" dt="2021-07-22T20:37:10.542" v="2244" actId="20577"/>
        <pc:sldMkLst>
          <pc:docMk/>
          <pc:sldMk cId="1405421131" sldId="1038"/>
        </pc:sldMkLst>
        <pc:spChg chg="mod">
          <ac:chgData name="Loy, Johannes Leopold" userId="49a6c0e1-2baa-4b01-8f84-048a6dcfd176" providerId="ADAL" clId="{24102215-8B6D-4380-8009-822541669133}" dt="2021-07-21T14:54:24.484" v="1587" actId="108"/>
          <ac:spMkLst>
            <pc:docMk/>
            <pc:sldMk cId="1405421131" sldId="1038"/>
            <ac:spMk id="5" creationId="{A5FF8EFB-0536-4272-A429-DA4D6DB29FB4}"/>
          </ac:spMkLst>
        </pc:spChg>
      </pc:sldChg>
      <pc:sldChg chg="modSp mod">
        <pc:chgData name="Loy, Johannes Leopold" userId="49a6c0e1-2baa-4b01-8f84-048a6dcfd176" providerId="ADAL" clId="{24102215-8B6D-4380-8009-822541669133}" dt="2021-07-22T19:12:27.140" v="1712" actId="20577"/>
        <pc:sldMkLst>
          <pc:docMk/>
          <pc:sldMk cId="2275217941" sldId="1039"/>
        </pc:sldMkLst>
        <pc:spChg chg="mod">
          <ac:chgData name="Loy, Johannes Leopold" userId="49a6c0e1-2baa-4b01-8f84-048a6dcfd176" providerId="ADAL" clId="{24102215-8B6D-4380-8009-822541669133}" dt="2021-07-22T19:12:27.140" v="1712" actId="20577"/>
          <ac:spMkLst>
            <pc:docMk/>
            <pc:sldMk cId="2275217941" sldId="1039"/>
            <ac:spMk id="2" creationId="{DE519B9B-9193-4140-874C-B30196EB1CEF}"/>
          </ac:spMkLst>
        </pc:spChg>
      </pc:sldChg>
      <pc:sldChg chg="addSp delSp modSp mod modNotesTx">
        <pc:chgData name="Loy, Johannes Leopold" userId="49a6c0e1-2baa-4b01-8f84-048a6dcfd176" providerId="ADAL" clId="{24102215-8B6D-4380-8009-822541669133}" dt="2021-07-22T19:27:03.763" v="1812" actId="20577"/>
        <pc:sldMkLst>
          <pc:docMk/>
          <pc:sldMk cId="3036264069" sldId="1040"/>
        </pc:sldMkLst>
        <pc:spChg chg="mod">
          <ac:chgData name="Loy, Johannes Leopold" userId="49a6c0e1-2baa-4b01-8f84-048a6dcfd176" providerId="ADAL" clId="{24102215-8B6D-4380-8009-822541669133}" dt="2021-07-22T19:25:41.803" v="1797" actId="1076"/>
          <ac:spMkLst>
            <pc:docMk/>
            <pc:sldMk cId="3036264069" sldId="1040"/>
            <ac:spMk id="6" creationId="{F3215B7A-0EF3-44C8-9DF0-D5F1280D54B7}"/>
          </ac:spMkLst>
        </pc:spChg>
        <pc:spChg chg="mod">
          <ac:chgData name="Loy, Johannes Leopold" userId="49a6c0e1-2baa-4b01-8f84-048a6dcfd176" providerId="ADAL" clId="{24102215-8B6D-4380-8009-822541669133}" dt="2021-07-22T19:18:15.590" v="1738" actId="207"/>
          <ac:spMkLst>
            <pc:docMk/>
            <pc:sldMk cId="3036264069" sldId="1040"/>
            <ac:spMk id="12" creationId="{058CBE1B-ADC9-4DAA-85B7-FC96B6055C66}"/>
          </ac:spMkLst>
        </pc:spChg>
        <pc:spChg chg="mod">
          <ac:chgData name="Loy, Johannes Leopold" userId="49a6c0e1-2baa-4b01-8f84-048a6dcfd176" providerId="ADAL" clId="{24102215-8B6D-4380-8009-822541669133}" dt="2021-07-22T19:26:37.176" v="1811" actId="207"/>
          <ac:spMkLst>
            <pc:docMk/>
            <pc:sldMk cId="3036264069" sldId="1040"/>
            <ac:spMk id="14" creationId="{499F8B50-69F3-4440-A5C9-1EB2A41B7D7B}"/>
          </ac:spMkLst>
        </pc:spChg>
        <pc:spChg chg="mod">
          <ac:chgData name="Loy, Johannes Leopold" userId="49a6c0e1-2baa-4b01-8f84-048a6dcfd176" providerId="ADAL" clId="{24102215-8B6D-4380-8009-822541669133}" dt="2021-07-22T19:23:50.602" v="1775" actId="207"/>
          <ac:spMkLst>
            <pc:docMk/>
            <pc:sldMk cId="3036264069" sldId="1040"/>
            <ac:spMk id="16" creationId="{4FEC2A4D-0F07-42F2-9B1F-A7CE9655C22C}"/>
          </ac:spMkLst>
        </pc:spChg>
        <pc:spChg chg="del">
          <ac:chgData name="Loy, Johannes Leopold" userId="49a6c0e1-2baa-4b01-8f84-048a6dcfd176" providerId="ADAL" clId="{24102215-8B6D-4380-8009-822541669133}" dt="2021-07-22T19:19:08.816" v="1743" actId="478"/>
          <ac:spMkLst>
            <pc:docMk/>
            <pc:sldMk cId="3036264069" sldId="1040"/>
            <ac:spMk id="21" creationId="{882768BE-F347-474C-A301-2FB3F36102D8}"/>
          </ac:spMkLst>
        </pc:spChg>
        <pc:spChg chg="add del">
          <ac:chgData name="Loy, Johannes Leopold" userId="49a6c0e1-2baa-4b01-8f84-048a6dcfd176" providerId="ADAL" clId="{24102215-8B6D-4380-8009-822541669133}" dt="2021-07-22T19:17:38.619" v="1731" actId="478"/>
          <ac:spMkLst>
            <pc:docMk/>
            <pc:sldMk cId="3036264069" sldId="1040"/>
            <ac:spMk id="22" creationId="{D28157BA-D80E-4687-8621-0FA4B6FCCCFB}"/>
          </ac:spMkLst>
        </pc:spChg>
        <pc:picChg chg="add del mod">
          <ac:chgData name="Loy, Johannes Leopold" userId="49a6c0e1-2baa-4b01-8f84-048a6dcfd176" providerId="ADAL" clId="{24102215-8B6D-4380-8009-822541669133}" dt="2021-07-22T19:22:00.033" v="1755" actId="478"/>
          <ac:picMkLst>
            <pc:docMk/>
            <pc:sldMk cId="3036264069" sldId="1040"/>
            <ac:picMk id="13" creationId="{F34245F0-46DD-4769-A5D1-2D196ED236B6}"/>
          </ac:picMkLst>
        </pc:picChg>
        <pc:picChg chg="add del mod">
          <ac:chgData name="Loy, Johannes Leopold" userId="49a6c0e1-2baa-4b01-8f84-048a6dcfd176" providerId="ADAL" clId="{24102215-8B6D-4380-8009-822541669133}" dt="2021-07-22T19:22:16.386" v="1762" actId="478"/>
          <ac:picMkLst>
            <pc:docMk/>
            <pc:sldMk cId="3036264069" sldId="1040"/>
            <ac:picMk id="17" creationId="{01C337E0-C649-4B3F-877F-A265B372B307}"/>
          </ac:picMkLst>
        </pc:picChg>
        <pc:picChg chg="del">
          <ac:chgData name="Loy, Johannes Leopold" userId="49a6c0e1-2baa-4b01-8f84-048a6dcfd176" providerId="ADAL" clId="{24102215-8B6D-4380-8009-822541669133}" dt="2021-07-22T19:18:09.950" v="1737" actId="478"/>
          <ac:picMkLst>
            <pc:docMk/>
            <pc:sldMk cId="3036264069" sldId="1040"/>
            <ac:picMk id="20" creationId="{3D58AA09-CAFC-4072-84E5-4729D9620E25}"/>
          </ac:picMkLst>
        </pc:picChg>
        <pc:picChg chg="del">
          <ac:chgData name="Loy, Johannes Leopold" userId="49a6c0e1-2baa-4b01-8f84-048a6dcfd176" providerId="ADAL" clId="{24102215-8B6D-4380-8009-822541669133}" dt="2021-07-22T19:26:29.643" v="1810" actId="478"/>
          <ac:picMkLst>
            <pc:docMk/>
            <pc:sldMk cId="3036264069" sldId="1040"/>
            <ac:picMk id="23" creationId="{EDE74EE1-099B-45FE-9F03-763E10BE21C8}"/>
          </ac:picMkLst>
        </pc:picChg>
        <pc:picChg chg="del">
          <ac:chgData name="Loy, Johannes Leopold" userId="49a6c0e1-2baa-4b01-8f84-048a6dcfd176" providerId="ADAL" clId="{24102215-8B6D-4380-8009-822541669133}" dt="2021-07-22T19:23:44.574" v="1774" actId="478"/>
          <ac:picMkLst>
            <pc:docMk/>
            <pc:sldMk cId="3036264069" sldId="1040"/>
            <ac:picMk id="25" creationId="{9DEAB912-E1A7-4C5C-9391-4F35294507FA}"/>
          </ac:picMkLst>
        </pc:picChg>
        <pc:picChg chg="del">
          <ac:chgData name="Loy, Johannes Leopold" userId="49a6c0e1-2baa-4b01-8f84-048a6dcfd176" providerId="ADAL" clId="{24102215-8B6D-4380-8009-822541669133}" dt="2021-07-22T19:25:11.793" v="1789" actId="478"/>
          <ac:picMkLst>
            <pc:docMk/>
            <pc:sldMk cId="3036264069" sldId="1040"/>
            <ac:picMk id="26" creationId="{FD12E312-82C2-4CE9-A379-96FC2F37AB4E}"/>
          </ac:picMkLst>
        </pc:picChg>
        <pc:picChg chg="add mod ord">
          <ac:chgData name="Loy, Johannes Leopold" userId="49a6c0e1-2baa-4b01-8f84-048a6dcfd176" providerId="ADAL" clId="{24102215-8B6D-4380-8009-822541669133}" dt="2021-07-22T19:23:42.602" v="1773" actId="167"/>
          <ac:picMkLst>
            <pc:docMk/>
            <pc:sldMk cId="3036264069" sldId="1040"/>
            <ac:picMk id="28" creationId="{ED532CB4-B36F-4FDE-AE6C-31BDE622BA3F}"/>
          </ac:picMkLst>
        </pc:picChg>
        <pc:picChg chg="add mod">
          <ac:chgData name="Loy, Johannes Leopold" userId="49a6c0e1-2baa-4b01-8f84-048a6dcfd176" providerId="ADAL" clId="{24102215-8B6D-4380-8009-822541669133}" dt="2021-07-22T19:18:06.826" v="1736" actId="167"/>
          <ac:picMkLst>
            <pc:docMk/>
            <pc:sldMk cId="3036264069" sldId="1040"/>
            <ac:picMk id="1026" creationId="{CA687A63-B132-4E44-97E3-509683DB309B}"/>
          </ac:picMkLst>
        </pc:picChg>
        <pc:picChg chg="add mod">
          <ac:chgData name="Loy, Johannes Leopold" userId="49a6c0e1-2baa-4b01-8f84-048a6dcfd176" providerId="ADAL" clId="{24102215-8B6D-4380-8009-822541669133}" dt="2021-07-22T19:25:10.017" v="1788" actId="167"/>
          <ac:picMkLst>
            <pc:docMk/>
            <pc:sldMk cId="3036264069" sldId="1040"/>
            <ac:picMk id="1028" creationId="{CC4B1FDA-1B42-4F71-BE65-20FAF9D1F573}"/>
          </ac:picMkLst>
        </pc:picChg>
        <pc:picChg chg="add mod">
          <ac:chgData name="Loy, Johannes Leopold" userId="49a6c0e1-2baa-4b01-8f84-048a6dcfd176" providerId="ADAL" clId="{24102215-8B6D-4380-8009-822541669133}" dt="2021-07-22T19:26:27.596" v="1809" actId="167"/>
          <ac:picMkLst>
            <pc:docMk/>
            <pc:sldMk cId="3036264069" sldId="1040"/>
            <ac:picMk id="1030" creationId="{89CA8FE6-1B18-412E-90D0-606198CE47E3}"/>
          </ac:picMkLst>
        </pc:picChg>
      </pc:sldChg>
      <pc:sldChg chg="addSp delSp modSp mod addCm delCm">
        <pc:chgData name="Loy, Johannes Leopold" userId="49a6c0e1-2baa-4b01-8f84-048a6dcfd176" providerId="ADAL" clId="{24102215-8B6D-4380-8009-822541669133}" dt="2021-07-22T19:54:05.903" v="1979" actId="1592"/>
        <pc:sldMkLst>
          <pc:docMk/>
          <pc:sldMk cId="3591796391" sldId="1041"/>
        </pc:sldMkLst>
        <pc:spChg chg="add mod">
          <ac:chgData name="Loy, Johannes Leopold" userId="49a6c0e1-2baa-4b01-8f84-048a6dcfd176" providerId="ADAL" clId="{24102215-8B6D-4380-8009-822541669133}" dt="2021-07-22T19:51:05.238" v="1959" actId="1076"/>
          <ac:spMkLst>
            <pc:docMk/>
            <pc:sldMk cId="3591796391" sldId="1041"/>
            <ac:spMk id="3" creationId="{9F2B3879-10C4-40EB-9855-3717B67BFD7C}"/>
          </ac:spMkLst>
        </pc:spChg>
        <pc:picChg chg="add mod">
          <ac:chgData name="Loy, Johannes Leopold" userId="49a6c0e1-2baa-4b01-8f84-048a6dcfd176" providerId="ADAL" clId="{24102215-8B6D-4380-8009-822541669133}" dt="2021-07-22T19:53:16.995" v="1976" actId="207"/>
          <ac:picMkLst>
            <pc:docMk/>
            <pc:sldMk cId="3591796391" sldId="1041"/>
            <ac:picMk id="7" creationId="{FF1D09E1-D4EF-43B9-85DE-803A6DE1C350}"/>
          </ac:picMkLst>
        </pc:picChg>
        <pc:picChg chg="add mod">
          <ac:chgData name="Loy, Johannes Leopold" userId="49a6c0e1-2baa-4b01-8f84-048a6dcfd176" providerId="ADAL" clId="{24102215-8B6D-4380-8009-822541669133}" dt="2021-07-22T19:53:18.856" v="1977" actId="207"/>
          <ac:picMkLst>
            <pc:docMk/>
            <pc:sldMk cId="3591796391" sldId="1041"/>
            <ac:picMk id="9" creationId="{76D9A09C-4D32-433A-A4E0-1CD8F1D30107}"/>
          </ac:picMkLst>
        </pc:picChg>
        <pc:picChg chg="add mod">
          <ac:chgData name="Loy, Johannes Leopold" userId="49a6c0e1-2baa-4b01-8f84-048a6dcfd176" providerId="ADAL" clId="{24102215-8B6D-4380-8009-822541669133}" dt="2021-07-22T19:53:26.534" v="1978" actId="207"/>
          <ac:picMkLst>
            <pc:docMk/>
            <pc:sldMk cId="3591796391" sldId="1041"/>
            <ac:picMk id="10" creationId="{DD119C31-72B6-47C1-8BE6-7645D25B2AD0}"/>
          </ac:picMkLst>
        </pc:picChg>
        <pc:picChg chg="del">
          <ac:chgData name="Loy, Johannes Leopold" userId="49a6c0e1-2baa-4b01-8f84-048a6dcfd176" providerId="ADAL" clId="{24102215-8B6D-4380-8009-822541669133}" dt="2021-07-21T14:00:29.662" v="1033" actId="478"/>
          <ac:picMkLst>
            <pc:docMk/>
            <pc:sldMk cId="3591796391" sldId="1041"/>
            <ac:picMk id="141314" creationId="{FE3E2776-AB9F-426D-8337-434156AA9424}"/>
          </ac:picMkLst>
        </pc:picChg>
      </pc:sldChg>
      <pc:sldChg chg="del">
        <pc:chgData name="Loy, Johannes Leopold" userId="49a6c0e1-2baa-4b01-8f84-048a6dcfd176" providerId="ADAL" clId="{24102215-8B6D-4380-8009-822541669133}" dt="2021-07-21T13:54:35.572" v="988" actId="47"/>
        <pc:sldMkLst>
          <pc:docMk/>
          <pc:sldMk cId="2607271375" sldId="1042"/>
        </pc:sldMkLst>
      </pc:sldChg>
      <pc:sldChg chg="delSp modSp mod">
        <pc:chgData name="Loy, Johannes Leopold" userId="49a6c0e1-2baa-4b01-8f84-048a6dcfd176" providerId="ADAL" clId="{24102215-8B6D-4380-8009-822541669133}" dt="2021-07-22T19:20:59.172" v="1744" actId="20577"/>
        <pc:sldMkLst>
          <pc:docMk/>
          <pc:sldMk cId="2255818571" sldId="1043"/>
        </pc:sldMkLst>
        <pc:spChg chg="mod">
          <ac:chgData name="Loy, Johannes Leopold" userId="49a6c0e1-2baa-4b01-8f84-048a6dcfd176" providerId="ADAL" clId="{24102215-8B6D-4380-8009-822541669133}" dt="2021-07-22T19:20:59.172" v="1744" actId="20577"/>
          <ac:spMkLst>
            <pc:docMk/>
            <pc:sldMk cId="2255818571" sldId="1043"/>
            <ac:spMk id="2" creationId="{86940D52-CAF7-46D5-9BE7-77616DCDC369}"/>
          </ac:spMkLst>
        </pc:spChg>
        <pc:spChg chg="del">
          <ac:chgData name="Loy, Johannes Leopold" userId="49a6c0e1-2baa-4b01-8f84-048a6dcfd176" providerId="ADAL" clId="{24102215-8B6D-4380-8009-822541669133}" dt="2021-07-21T14:31:47.684" v="1327" actId="478"/>
          <ac:spMkLst>
            <pc:docMk/>
            <pc:sldMk cId="2255818571" sldId="1043"/>
            <ac:spMk id="5" creationId="{57F0236B-FD46-4313-ADB1-9F40B7EB2758}"/>
          </ac:spMkLst>
        </pc:spChg>
      </pc:sldChg>
      <pc:sldChg chg="del">
        <pc:chgData name="Loy, Johannes Leopold" userId="49a6c0e1-2baa-4b01-8f84-048a6dcfd176" providerId="ADAL" clId="{24102215-8B6D-4380-8009-822541669133}" dt="2021-07-21T13:51:20.256" v="985" actId="47"/>
        <pc:sldMkLst>
          <pc:docMk/>
          <pc:sldMk cId="2084691775" sldId="1048"/>
        </pc:sldMkLst>
      </pc:sldChg>
      <pc:sldChg chg="del">
        <pc:chgData name="Loy, Johannes Leopold" userId="49a6c0e1-2baa-4b01-8f84-048a6dcfd176" providerId="ADAL" clId="{24102215-8B6D-4380-8009-822541669133}" dt="2021-07-21T13:51:20.256" v="985" actId="47"/>
        <pc:sldMkLst>
          <pc:docMk/>
          <pc:sldMk cId="2006302874" sldId="1049"/>
        </pc:sldMkLst>
      </pc:sldChg>
      <pc:sldChg chg="del">
        <pc:chgData name="Loy, Johannes Leopold" userId="49a6c0e1-2baa-4b01-8f84-048a6dcfd176" providerId="ADAL" clId="{24102215-8B6D-4380-8009-822541669133}" dt="2021-07-21T13:54:34.608" v="987" actId="47"/>
        <pc:sldMkLst>
          <pc:docMk/>
          <pc:sldMk cId="2414538905" sldId="1050"/>
        </pc:sldMkLst>
      </pc:sldChg>
      <pc:sldChg chg="addSp delSp modSp mod">
        <pc:chgData name="Loy, Johannes Leopold" userId="49a6c0e1-2baa-4b01-8f84-048a6dcfd176" providerId="ADAL" clId="{24102215-8B6D-4380-8009-822541669133}" dt="2021-07-21T13:29:19.117" v="557" actId="14100"/>
        <pc:sldMkLst>
          <pc:docMk/>
          <pc:sldMk cId="165077166" sldId="1052"/>
        </pc:sldMkLst>
        <pc:spChg chg="del">
          <ac:chgData name="Loy, Johannes Leopold" userId="49a6c0e1-2baa-4b01-8f84-048a6dcfd176" providerId="ADAL" clId="{24102215-8B6D-4380-8009-822541669133}" dt="2021-07-21T13:29:08.022" v="553" actId="478"/>
          <ac:spMkLst>
            <pc:docMk/>
            <pc:sldMk cId="165077166" sldId="1052"/>
            <ac:spMk id="19" creationId="{7F2ED013-5A8B-445C-AEE0-9F605D7DFED6}"/>
          </ac:spMkLst>
        </pc:spChg>
        <pc:cxnChg chg="add mod">
          <ac:chgData name="Loy, Johannes Leopold" userId="49a6c0e1-2baa-4b01-8f84-048a6dcfd176" providerId="ADAL" clId="{24102215-8B6D-4380-8009-822541669133}" dt="2021-07-21T13:29:19.117" v="557" actId="14100"/>
          <ac:cxnSpMkLst>
            <pc:docMk/>
            <pc:sldMk cId="165077166" sldId="1052"/>
            <ac:cxnSpMk id="50" creationId="{2A9628B2-E836-4C13-9EEF-489448026B54}"/>
          </ac:cxnSpMkLst>
        </pc:cxnChg>
      </pc:sldChg>
      <pc:sldChg chg="addSp delSp modSp mod">
        <pc:chgData name="Loy, Johannes Leopold" userId="49a6c0e1-2baa-4b01-8f84-048a6dcfd176" providerId="ADAL" clId="{24102215-8B6D-4380-8009-822541669133}" dt="2021-07-22T20:18:12.282" v="2121"/>
        <pc:sldMkLst>
          <pc:docMk/>
          <pc:sldMk cId="174923254" sldId="1054"/>
        </pc:sldMkLst>
        <pc:spChg chg="mod">
          <ac:chgData name="Loy, Johannes Leopold" userId="49a6c0e1-2baa-4b01-8f84-048a6dcfd176" providerId="ADAL" clId="{24102215-8B6D-4380-8009-822541669133}" dt="2021-07-21T14:20:45.500" v="1236" actId="5793"/>
          <ac:spMkLst>
            <pc:docMk/>
            <pc:sldMk cId="174923254" sldId="1054"/>
            <ac:spMk id="2" creationId="{DE519B9B-9193-4140-874C-B30196EB1CEF}"/>
          </ac:spMkLst>
        </pc:spChg>
        <pc:spChg chg="del">
          <ac:chgData name="Loy, Johannes Leopold" userId="49a6c0e1-2baa-4b01-8f84-048a6dcfd176" providerId="ADAL" clId="{24102215-8B6D-4380-8009-822541669133}" dt="2021-07-21T14:11:20.170" v="1050" actId="478"/>
          <ac:spMkLst>
            <pc:docMk/>
            <pc:sldMk cId="174923254" sldId="1054"/>
            <ac:spMk id="7" creationId="{B4EFE8CF-978D-4AC4-BFBD-B4FFF20FC573}"/>
          </ac:spMkLst>
        </pc:spChg>
        <pc:spChg chg="add mod">
          <ac:chgData name="Loy, Johannes Leopold" userId="49a6c0e1-2baa-4b01-8f84-048a6dcfd176" providerId="ADAL" clId="{24102215-8B6D-4380-8009-822541669133}" dt="2021-07-22T20:18:12.282" v="2121"/>
          <ac:spMkLst>
            <pc:docMk/>
            <pc:sldMk cId="174923254" sldId="1054"/>
            <ac:spMk id="8" creationId="{3EA19CE4-9EDD-40E7-883C-24462249F645}"/>
          </ac:spMkLst>
        </pc:spChg>
        <pc:spChg chg="add mod">
          <ac:chgData name="Loy, Johannes Leopold" userId="49a6c0e1-2baa-4b01-8f84-048a6dcfd176" providerId="ADAL" clId="{24102215-8B6D-4380-8009-822541669133}" dt="2021-07-22T20:09:13.757" v="2083" actId="404"/>
          <ac:spMkLst>
            <pc:docMk/>
            <pc:sldMk cId="174923254" sldId="1054"/>
            <ac:spMk id="12" creationId="{41232EB3-2186-4ECD-8682-4EA4A8C1DC4F}"/>
          </ac:spMkLst>
        </pc:spChg>
        <pc:spChg chg="add del mod">
          <ac:chgData name="Loy, Johannes Leopold" userId="49a6c0e1-2baa-4b01-8f84-048a6dcfd176" providerId="ADAL" clId="{24102215-8B6D-4380-8009-822541669133}" dt="2021-07-22T20:18:11.160" v="2120" actId="21"/>
          <ac:spMkLst>
            <pc:docMk/>
            <pc:sldMk cId="174923254" sldId="1054"/>
            <ac:spMk id="13" creationId="{6B731578-A4D5-4303-94E9-05DD6D6EEB36}"/>
          </ac:spMkLst>
        </pc:spChg>
        <pc:spChg chg="add mod">
          <ac:chgData name="Loy, Johannes Leopold" userId="49a6c0e1-2baa-4b01-8f84-048a6dcfd176" providerId="ADAL" clId="{24102215-8B6D-4380-8009-822541669133}" dt="2021-07-22T20:08:31.116" v="2058" actId="20577"/>
          <ac:spMkLst>
            <pc:docMk/>
            <pc:sldMk cId="174923254" sldId="1054"/>
            <ac:spMk id="14" creationId="{8CC65623-1D82-497A-8CF7-B145A355C0C5}"/>
          </ac:spMkLst>
        </pc:spChg>
        <pc:picChg chg="del">
          <ac:chgData name="Loy, Johannes Leopold" userId="49a6c0e1-2baa-4b01-8f84-048a6dcfd176" providerId="ADAL" clId="{24102215-8B6D-4380-8009-822541669133}" dt="2021-07-21T14:07:58.156" v="1046" actId="478"/>
          <ac:picMkLst>
            <pc:docMk/>
            <pc:sldMk cId="174923254" sldId="1054"/>
            <ac:picMk id="4" creationId="{2A0F22DF-12F6-427C-A482-F281374BDA07}"/>
          </ac:picMkLst>
        </pc:picChg>
        <pc:picChg chg="add mod">
          <ac:chgData name="Loy, Johannes Leopold" userId="49a6c0e1-2baa-4b01-8f84-048a6dcfd176" providerId="ADAL" clId="{24102215-8B6D-4380-8009-822541669133}" dt="2021-07-21T14:16:47.434" v="1127" actId="14100"/>
          <ac:picMkLst>
            <pc:docMk/>
            <pc:sldMk cId="174923254" sldId="1054"/>
            <ac:picMk id="5" creationId="{387E3F0B-29BB-4D9A-B07D-E1ECC1117052}"/>
          </ac:picMkLst>
        </pc:picChg>
        <pc:picChg chg="del">
          <ac:chgData name="Loy, Johannes Leopold" userId="49a6c0e1-2baa-4b01-8f84-048a6dcfd176" providerId="ADAL" clId="{24102215-8B6D-4380-8009-822541669133}" dt="2021-07-21T14:07:58.591" v="1047" actId="478"/>
          <ac:picMkLst>
            <pc:docMk/>
            <pc:sldMk cId="174923254" sldId="1054"/>
            <ac:picMk id="6" creationId="{362DCF83-5F0C-4F25-9C04-945355116A99}"/>
          </ac:picMkLst>
        </pc:picChg>
        <pc:picChg chg="del">
          <ac:chgData name="Loy, Johannes Leopold" userId="49a6c0e1-2baa-4b01-8f84-048a6dcfd176" providerId="ADAL" clId="{24102215-8B6D-4380-8009-822541669133}" dt="2021-07-21T14:07:59.570" v="1049" actId="478"/>
          <ac:picMkLst>
            <pc:docMk/>
            <pc:sldMk cId="174923254" sldId="1054"/>
            <ac:picMk id="8" creationId="{E82C4FA1-062F-40CC-A69F-CE5416D3088A}"/>
          </ac:picMkLst>
        </pc:picChg>
        <pc:picChg chg="del">
          <ac:chgData name="Loy, Johannes Leopold" userId="49a6c0e1-2baa-4b01-8f84-048a6dcfd176" providerId="ADAL" clId="{24102215-8B6D-4380-8009-822541669133}" dt="2021-07-21T14:07:59.154" v="1048" actId="478"/>
          <ac:picMkLst>
            <pc:docMk/>
            <pc:sldMk cId="174923254" sldId="1054"/>
            <ac:picMk id="10" creationId="{28C41FB0-D963-4A17-A675-049EE2E3B37E}"/>
          </ac:picMkLst>
        </pc:picChg>
        <pc:picChg chg="add mod">
          <ac:chgData name="Loy, Johannes Leopold" userId="49a6c0e1-2baa-4b01-8f84-048a6dcfd176" providerId="ADAL" clId="{24102215-8B6D-4380-8009-822541669133}" dt="2021-07-22T20:01:51.841" v="1984" actId="14100"/>
          <ac:picMkLst>
            <pc:docMk/>
            <pc:sldMk cId="174923254" sldId="1054"/>
            <ac:picMk id="11" creationId="{D327EF69-2BBA-435B-9A21-F8F7254786C7}"/>
          </ac:picMkLst>
        </pc:picChg>
      </pc:sldChg>
      <pc:sldChg chg="addSp delSp modSp mod ord">
        <pc:chgData name="Loy, Johannes Leopold" userId="49a6c0e1-2baa-4b01-8f84-048a6dcfd176" providerId="ADAL" clId="{24102215-8B6D-4380-8009-822541669133}" dt="2021-07-21T14:38:45.116" v="1524" actId="478"/>
        <pc:sldMkLst>
          <pc:docMk/>
          <pc:sldMk cId="1298680929" sldId="1055"/>
        </pc:sldMkLst>
        <pc:spChg chg="add del mod">
          <ac:chgData name="Loy, Johannes Leopold" userId="49a6c0e1-2baa-4b01-8f84-048a6dcfd176" providerId="ADAL" clId="{24102215-8B6D-4380-8009-822541669133}" dt="2021-07-21T14:38:45.116" v="1524" actId="478"/>
          <ac:spMkLst>
            <pc:docMk/>
            <pc:sldMk cId="1298680929" sldId="1055"/>
            <ac:spMk id="3" creationId="{0957ACF4-A88A-45C0-904D-A5CCB39AA826}"/>
          </ac:spMkLst>
        </pc:spChg>
      </pc:sldChg>
      <pc:sldChg chg="del">
        <pc:chgData name="Loy, Johannes Leopold" userId="49a6c0e1-2baa-4b01-8f84-048a6dcfd176" providerId="ADAL" clId="{24102215-8B6D-4380-8009-822541669133}" dt="2021-07-21T12:57:02.604" v="4" actId="47"/>
        <pc:sldMkLst>
          <pc:docMk/>
          <pc:sldMk cId="1649348098" sldId="1057"/>
        </pc:sldMkLst>
      </pc:sldChg>
      <pc:sldChg chg="addSp delSp modSp mod modNotesTx">
        <pc:chgData name="Loy, Johannes Leopold" userId="49a6c0e1-2baa-4b01-8f84-048a6dcfd176" providerId="ADAL" clId="{24102215-8B6D-4380-8009-822541669133}" dt="2021-07-22T20:38:25.149" v="2265" actId="20577"/>
        <pc:sldMkLst>
          <pc:docMk/>
          <pc:sldMk cId="3024107589" sldId="1059"/>
        </pc:sldMkLst>
        <pc:spChg chg="mod">
          <ac:chgData name="Loy, Johannes Leopold" userId="49a6c0e1-2baa-4b01-8f84-048a6dcfd176" providerId="ADAL" clId="{24102215-8B6D-4380-8009-822541669133}" dt="2021-07-21T13:03:06.491" v="113" actId="1076"/>
          <ac:spMkLst>
            <pc:docMk/>
            <pc:sldMk cId="3024107589" sldId="1059"/>
            <ac:spMk id="4" creationId="{7B0AD8EB-13EB-4FA5-BF32-71B941A2BAB0}"/>
          </ac:spMkLst>
        </pc:spChg>
        <pc:spChg chg="add mod">
          <ac:chgData name="Loy, Johannes Leopold" userId="49a6c0e1-2baa-4b01-8f84-048a6dcfd176" providerId="ADAL" clId="{24102215-8B6D-4380-8009-822541669133}" dt="2021-07-21T13:11:22.525" v="188" actId="1076"/>
          <ac:spMkLst>
            <pc:docMk/>
            <pc:sldMk cId="3024107589" sldId="1059"/>
            <ac:spMk id="5" creationId="{3A7C4E0F-8298-4859-B429-ECFB6137AE8E}"/>
          </ac:spMkLst>
        </pc:spChg>
        <pc:spChg chg="add mod">
          <ac:chgData name="Loy, Johannes Leopold" userId="49a6c0e1-2baa-4b01-8f84-048a6dcfd176" providerId="ADAL" clId="{24102215-8B6D-4380-8009-822541669133}" dt="2021-07-21T13:12:44.225" v="191" actId="1076"/>
          <ac:spMkLst>
            <pc:docMk/>
            <pc:sldMk cId="3024107589" sldId="1059"/>
            <ac:spMk id="6" creationId="{2FC34CC8-B682-47FE-A7F7-AB8ACA43017E}"/>
          </ac:spMkLst>
        </pc:spChg>
        <pc:spChg chg="add del mod">
          <ac:chgData name="Loy, Johannes Leopold" userId="49a6c0e1-2baa-4b01-8f84-048a6dcfd176" providerId="ADAL" clId="{24102215-8B6D-4380-8009-822541669133}" dt="2021-07-21T13:05:18.434" v="118" actId="478"/>
          <ac:spMkLst>
            <pc:docMk/>
            <pc:sldMk cId="3024107589" sldId="1059"/>
            <ac:spMk id="9" creationId="{2BF05655-D338-4ABF-8D01-E4CABCFE698F}"/>
          </ac:spMkLst>
        </pc:spChg>
        <pc:spChg chg="add mod">
          <ac:chgData name="Loy, Johannes Leopold" userId="49a6c0e1-2baa-4b01-8f84-048a6dcfd176" providerId="ADAL" clId="{24102215-8B6D-4380-8009-822541669133}" dt="2021-07-21T13:12:09.105" v="189" actId="1076"/>
          <ac:spMkLst>
            <pc:docMk/>
            <pc:sldMk cId="3024107589" sldId="1059"/>
            <ac:spMk id="10" creationId="{D1FC23B4-89CB-4A7F-B6F7-06195BAA6F31}"/>
          </ac:spMkLst>
        </pc:spChg>
        <pc:spChg chg="add mod">
          <ac:chgData name="Loy, Johannes Leopold" userId="49a6c0e1-2baa-4b01-8f84-048a6dcfd176" providerId="ADAL" clId="{24102215-8B6D-4380-8009-822541669133}" dt="2021-07-21T13:12:17.805" v="190" actId="1076"/>
          <ac:spMkLst>
            <pc:docMk/>
            <pc:sldMk cId="3024107589" sldId="1059"/>
            <ac:spMk id="11" creationId="{DF72181A-E6BB-466A-BF5E-99AB5B6D9D18}"/>
          </ac:spMkLst>
        </pc:spChg>
        <pc:spChg chg="add del mod">
          <ac:chgData name="Loy, Johannes Leopold" userId="49a6c0e1-2baa-4b01-8f84-048a6dcfd176" providerId="ADAL" clId="{24102215-8B6D-4380-8009-822541669133}" dt="2021-07-21T13:13:39.645" v="196" actId="478"/>
          <ac:spMkLst>
            <pc:docMk/>
            <pc:sldMk cId="3024107589" sldId="1059"/>
            <ac:spMk id="17" creationId="{FC5B8BB7-87EF-456A-AAC3-22748BBED567}"/>
          </ac:spMkLst>
        </pc:spChg>
        <pc:picChg chg="del mod">
          <ac:chgData name="Loy, Johannes Leopold" userId="49a6c0e1-2baa-4b01-8f84-048a6dcfd176" providerId="ADAL" clId="{24102215-8B6D-4380-8009-822541669133}" dt="2021-07-21T13:08:00.423" v="157" actId="478"/>
          <ac:picMkLst>
            <pc:docMk/>
            <pc:sldMk cId="3024107589" sldId="1059"/>
            <ac:picMk id="3" creationId="{78F53D34-C3B1-45F8-9B48-DA6CBDB6AEC6}"/>
          </ac:picMkLst>
        </pc:picChg>
        <pc:picChg chg="del mod">
          <ac:chgData name="Loy, Johannes Leopold" userId="49a6c0e1-2baa-4b01-8f84-048a6dcfd176" providerId="ADAL" clId="{24102215-8B6D-4380-8009-822541669133}" dt="2021-07-21T13:08:00.850" v="158" actId="478"/>
          <ac:picMkLst>
            <pc:docMk/>
            <pc:sldMk cId="3024107589" sldId="1059"/>
            <ac:picMk id="7" creationId="{504E643F-7918-4843-B306-A6B551489E00}"/>
          </ac:picMkLst>
        </pc:picChg>
        <pc:picChg chg="del">
          <ac:chgData name="Loy, Johannes Leopold" userId="49a6c0e1-2baa-4b01-8f84-048a6dcfd176" providerId="ADAL" clId="{24102215-8B6D-4380-8009-822541669133}" dt="2021-07-21T13:07:59.298" v="155" actId="478"/>
          <ac:picMkLst>
            <pc:docMk/>
            <pc:sldMk cId="3024107589" sldId="1059"/>
            <ac:picMk id="9" creationId="{7AABB39A-3208-4FB9-B03C-01C1D2812C59}"/>
          </ac:picMkLst>
        </pc:picChg>
        <pc:picChg chg="del mod">
          <ac:chgData name="Loy, Johannes Leopold" userId="49a6c0e1-2baa-4b01-8f84-048a6dcfd176" providerId="ADAL" clId="{24102215-8B6D-4380-8009-822541669133}" dt="2021-07-21T13:07:59.699" v="156" actId="478"/>
          <ac:picMkLst>
            <pc:docMk/>
            <pc:sldMk cId="3024107589" sldId="1059"/>
            <ac:picMk id="12" creationId="{6AB724C2-6D45-4FE2-9D31-76B2E32A96C4}"/>
          </ac:picMkLst>
        </pc:picChg>
        <pc:picChg chg="mod">
          <ac:chgData name="Loy, Johannes Leopold" userId="49a6c0e1-2baa-4b01-8f84-048a6dcfd176" providerId="ADAL" clId="{24102215-8B6D-4380-8009-822541669133}" dt="2021-07-21T13:08:48.489" v="169" actId="1076"/>
          <ac:picMkLst>
            <pc:docMk/>
            <pc:sldMk cId="3024107589" sldId="1059"/>
            <ac:picMk id="13" creationId="{E4A5FEA0-A033-467E-8165-524B06337258}"/>
          </ac:picMkLst>
        </pc:picChg>
        <pc:picChg chg="mod">
          <ac:chgData name="Loy, Johannes Leopold" userId="49a6c0e1-2baa-4b01-8f84-048a6dcfd176" providerId="ADAL" clId="{24102215-8B6D-4380-8009-822541669133}" dt="2021-07-21T13:08:59.846" v="170" actId="1076"/>
          <ac:picMkLst>
            <pc:docMk/>
            <pc:sldMk cId="3024107589" sldId="1059"/>
            <ac:picMk id="14" creationId="{F77E1EB6-F59B-4A6A-8048-CF2F75A29EFD}"/>
          </ac:picMkLst>
        </pc:picChg>
        <pc:picChg chg="mod">
          <ac:chgData name="Loy, Johannes Leopold" userId="49a6c0e1-2baa-4b01-8f84-048a6dcfd176" providerId="ADAL" clId="{24102215-8B6D-4380-8009-822541669133}" dt="2021-07-21T13:09:28.185" v="175" actId="1076"/>
          <ac:picMkLst>
            <pc:docMk/>
            <pc:sldMk cId="3024107589" sldId="1059"/>
            <ac:picMk id="15" creationId="{5D0FE6A8-BD2F-4178-9B68-8DA60F851C48}"/>
          </ac:picMkLst>
        </pc:picChg>
        <pc:picChg chg="mod">
          <ac:chgData name="Loy, Johannes Leopold" userId="49a6c0e1-2baa-4b01-8f84-048a6dcfd176" providerId="ADAL" clId="{24102215-8B6D-4380-8009-822541669133}" dt="2021-07-21T13:11:07.890" v="187" actId="14100"/>
          <ac:picMkLst>
            <pc:docMk/>
            <pc:sldMk cId="3024107589" sldId="1059"/>
            <ac:picMk id="16" creationId="{A9F81E58-3A41-4B4C-B3A8-7991FA973722}"/>
          </ac:picMkLst>
        </pc:picChg>
      </pc:sldChg>
      <pc:sldChg chg="addSp delSp modSp mod">
        <pc:chgData name="Loy, Johannes Leopold" userId="49a6c0e1-2baa-4b01-8f84-048a6dcfd176" providerId="ADAL" clId="{24102215-8B6D-4380-8009-822541669133}" dt="2021-07-21T14:22:26.874" v="1245" actId="20577"/>
        <pc:sldMkLst>
          <pc:docMk/>
          <pc:sldMk cId="844776175" sldId="1061"/>
        </pc:sldMkLst>
        <pc:spChg chg="mod">
          <ac:chgData name="Loy, Johannes Leopold" userId="49a6c0e1-2baa-4b01-8f84-048a6dcfd176" providerId="ADAL" clId="{24102215-8B6D-4380-8009-822541669133}" dt="2021-07-21T13:35:20.197" v="701" actId="14100"/>
          <ac:spMkLst>
            <pc:docMk/>
            <pc:sldMk cId="844776175" sldId="1061"/>
            <ac:spMk id="3" creationId="{2378418A-692F-48BA-B9FB-00467DF819BF}"/>
          </ac:spMkLst>
        </pc:spChg>
        <pc:spChg chg="del mod">
          <ac:chgData name="Loy, Johannes Leopold" userId="49a6c0e1-2baa-4b01-8f84-048a6dcfd176" providerId="ADAL" clId="{24102215-8B6D-4380-8009-822541669133}" dt="2021-07-21T13:37:24.442" v="706" actId="478"/>
          <ac:spMkLst>
            <pc:docMk/>
            <pc:sldMk cId="844776175" sldId="1061"/>
            <ac:spMk id="5" creationId="{9C2C85E8-D848-4BA3-9BA8-E2A6D1C2221D}"/>
          </ac:spMkLst>
        </pc:spChg>
        <pc:spChg chg="add mod">
          <ac:chgData name="Loy, Johannes Leopold" userId="49a6c0e1-2baa-4b01-8f84-048a6dcfd176" providerId="ADAL" clId="{24102215-8B6D-4380-8009-822541669133}" dt="2021-07-21T13:43:09.820" v="888" actId="1076"/>
          <ac:spMkLst>
            <pc:docMk/>
            <pc:sldMk cId="844776175" sldId="1061"/>
            <ac:spMk id="6" creationId="{55F48A61-FCB5-440A-B5A3-B6F9332E2338}"/>
          </ac:spMkLst>
        </pc:spChg>
        <pc:spChg chg="add mod">
          <ac:chgData name="Loy, Johannes Leopold" userId="49a6c0e1-2baa-4b01-8f84-048a6dcfd176" providerId="ADAL" clId="{24102215-8B6D-4380-8009-822541669133}" dt="2021-07-21T13:47:15.372" v="984" actId="1076"/>
          <ac:spMkLst>
            <pc:docMk/>
            <pc:sldMk cId="844776175" sldId="1061"/>
            <ac:spMk id="7" creationId="{74269315-FD08-4D24-9BBE-DBAD3A10708F}"/>
          </ac:spMkLst>
        </pc:spChg>
        <pc:spChg chg="add mod">
          <ac:chgData name="Loy, Johannes Leopold" userId="49a6c0e1-2baa-4b01-8f84-048a6dcfd176" providerId="ADAL" clId="{24102215-8B6D-4380-8009-822541669133}" dt="2021-07-21T13:43:31.045" v="896" actId="14100"/>
          <ac:spMkLst>
            <pc:docMk/>
            <pc:sldMk cId="844776175" sldId="1061"/>
            <ac:spMk id="8" creationId="{BABD482E-6850-4713-A991-53A42CDC90C1}"/>
          </ac:spMkLst>
        </pc:spChg>
        <pc:spChg chg="add mod">
          <ac:chgData name="Loy, Johannes Leopold" userId="49a6c0e1-2baa-4b01-8f84-048a6dcfd176" providerId="ADAL" clId="{24102215-8B6D-4380-8009-822541669133}" dt="2021-07-21T14:22:26.874" v="1245" actId="20577"/>
          <ac:spMkLst>
            <pc:docMk/>
            <pc:sldMk cId="844776175" sldId="1061"/>
            <ac:spMk id="9" creationId="{794A1D83-A169-4E44-B079-92E1A35F91EF}"/>
          </ac:spMkLst>
        </pc:spChg>
        <pc:spChg chg="mod">
          <ac:chgData name="Loy, Johannes Leopold" userId="49a6c0e1-2baa-4b01-8f84-048a6dcfd176" providerId="ADAL" clId="{24102215-8B6D-4380-8009-822541669133}" dt="2021-07-21T13:43:40.318" v="897" actId="14100"/>
          <ac:spMkLst>
            <pc:docMk/>
            <pc:sldMk cId="844776175" sldId="1061"/>
            <ac:spMk id="11" creationId="{3ED10F89-5521-46B3-ABA1-FFA557FD45C0}"/>
          </ac:spMkLst>
        </pc:spChg>
        <pc:spChg chg="add mod">
          <ac:chgData name="Loy, Johannes Leopold" userId="49a6c0e1-2baa-4b01-8f84-048a6dcfd176" providerId="ADAL" clId="{24102215-8B6D-4380-8009-822541669133}" dt="2021-07-21T13:45:39.343" v="956" actId="1076"/>
          <ac:spMkLst>
            <pc:docMk/>
            <pc:sldMk cId="844776175" sldId="1061"/>
            <ac:spMk id="12" creationId="{FE80700B-47A0-4E65-83C3-E86BF80050BF}"/>
          </ac:spMkLst>
        </pc:spChg>
        <pc:spChg chg="add del mod">
          <ac:chgData name="Loy, Johannes Leopold" userId="49a6c0e1-2baa-4b01-8f84-048a6dcfd176" providerId="ADAL" clId="{24102215-8B6D-4380-8009-822541669133}" dt="2021-07-21T13:43:14.080" v="890" actId="478"/>
          <ac:spMkLst>
            <pc:docMk/>
            <pc:sldMk cId="844776175" sldId="1061"/>
            <ac:spMk id="13" creationId="{95987A20-05BF-44D1-89C3-E92667A21A62}"/>
          </ac:spMkLst>
        </pc:spChg>
        <pc:spChg chg="add mod">
          <ac:chgData name="Loy, Johannes Leopold" userId="49a6c0e1-2baa-4b01-8f84-048a6dcfd176" providerId="ADAL" clId="{24102215-8B6D-4380-8009-822541669133}" dt="2021-07-21T13:46:10.547" v="961" actId="14100"/>
          <ac:spMkLst>
            <pc:docMk/>
            <pc:sldMk cId="844776175" sldId="1061"/>
            <ac:spMk id="14" creationId="{DC5D7665-A8AB-4E98-AAB5-61909C3D1540}"/>
          </ac:spMkLst>
        </pc:spChg>
        <pc:spChg chg="add mod">
          <ac:chgData name="Loy, Johannes Leopold" userId="49a6c0e1-2baa-4b01-8f84-048a6dcfd176" providerId="ADAL" clId="{24102215-8B6D-4380-8009-822541669133}" dt="2021-07-21T13:45:35.477" v="955" actId="1076"/>
          <ac:spMkLst>
            <pc:docMk/>
            <pc:sldMk cId="844776175" sldId="1061"/>
            <ac:spMk id="15" creationId="{C8C5BAC6-535F-4616-8EA0-7CC093C06B0C}"/>
          </ac:spMkLst>
        </pc:spChg>
        <pc:spChg chg="add mod">
          <ac:chgData name="Loy, Johannes Leopold" userId="49a6c0e1-2baa-4b01-8f84-048a6dcfd176" providerId="ADAL" clId="{24102215-8B6D-4380-8009-822541669133}" dt="2021-07-21T13:46:31.620" v="962" actId="1076"/>
          <ac:spMkLst>
            <pc:docMk/>
            <pc:sldMk cId="844776175" sldId="1061"/>
            <ac:spMk id="16" creationId="{37FB9AC7-0220-4F95-8283-AFEF720B3CD6}"/>
          </ac:spMkLst>
        </pc:spChg>
        <pc:spChg chg="add del mod">
          <ac:chgData name="Loy, Johannes Leopold" userId="49a6c0e1-2baa-4b01-8f84-048a6dcfd176" providerId="ADAL" clId="{24102215-8B6D-4380-8009-822541669133}" dt="2021-07-21T13:42:45.761" v="875" actId="478"/>
          <ac:spMkLst>
            <pc:docMk/>
            <pc:sldMk cId="844776175" sldId="1061"/>
            <ac:spMk id="17" creationId="{B1318A92-DFDA-45F1-981F-74E2FEAEF352}"/>
          </ac:spMkLst>
        </pc:spChg>
        <pc:picChg chg="del mod">
          <ac:chgData name="Loy, Johannes Leopold" userId="49a6c0e1-2baa-4b01-8f84-048a6dcfd176" providerId="ADAL" clId="{24102215-8B6D-4380-8009-822541669133}" dt="2021-07-21T13:35:10.289" v="698" actId="478"/>
          <ac:picMkLst>
            <pc:docMk/>
            <pc:sldMk cId="844776175" sldId="1061"/>
            <ac:picMk id="4" creationId="{72FB8E7E-B920-4F7E-A903-4427DF63E6B4}"/>
          </ac:picMkLst>
        </pc:picChg>
        <pc:picChg chg="mod">
          <ac:chgData name="Loy, Johannes Leopold" userId="49a6c0e1-2baa-4b01-8f84-048a6dcfd176" providerId="ADAL" clId="{24102215-8B6D-4380-8009-822541669133}" dt="2021-07-21T13:39:08.471" v="746" actId="1076"/>
          <ac:picMkLst>
            <pc:docMk/>
            <pc:sldMk cId="844776175" sldId="1061"/>
            <ac:picMk id="10" creationId="{B2FEC1B5-FBA2-4C54-BEEC-5600D778CB9F}"/>
          </ac:picMkLst>
        </pc:picChg>
        <pc:picChg chg="mod">
          <ac:chgData name="Loy, Johannes Leopold" userId="49a6c0e1-2baa-4b01-8f84-048a6dcfd176" providerId="ADAL" clId="{24102215-8B6D-4380-8009-822541669133}" dt="2021-07-21T13:45:48.633" v="959" actId="1076"/>
          <ac:picMkLst>
            <pc:docMk/>
            <pc:sldMk cId="844776175" sldId="1061"/>
            <ac:picMk id="18" creationId="{3D9AB8E2-FE41-441B-8371-77613DDB8F88}"/>
          </ac:picMkLst>
        </pc:picChg>
      </pc:sldChg>
      <pc:sldChg chg="del">
        <pc:chgData name="Loy, Johannes Leopold" userId="49a6c0e1-2baa-4b01-8f84-048a6dcfd176" providerId="ADAL" clId="{24102215-8B6D-4380-8009-822541669133}" dt="2021-07-21T13:54:33.032" v="986" actId="47"/>
        <pc:sldMkLst>
          <pc:docMk/>
          <pc:sldMk cId="2047516810" sldId="1062"/>
        </pc:sldMkLst>
      </pc:sldChg>
      <pc:sldChg chg="addSp modSp mod ord">
        <pc:chgData name="Loy, Johannes Leopold" userId="49a6c0e1-2baa-4b01-8f84-048a6dcfd176" providerId="ADAL" clId="{24102215-8B6D-4380-8009-822541669133}" dt="2021-07-22T20:25:37.900" v="2242" actId="207"/>
        <pc:sldMkLst>
          <pc:docMk/>
          <pc:sldMk cId="1996377858" sldId="1064"/>
        </pc:sldMkLst>
        <pc:spChg chg="mod">
          <ac:chgData name="Loy, Johannes Leopold" userId="49a6c0e1-2baa-4b01-8f84-048a6dcfd176" providerId="ADAL" clId="{24102215-8B6D-4380-8009-822541669133}" dt="2021-07-21T14:37:35.157" v="1510" actId="14100"/>
          <ac:spMkLst>
            <pc:docMk/>
            <pc:sldMk cId="1996377858" sldId="1064"/>
            <ac:spMk id="2" creationId="{DE519B9B-9193-4140-874C-B30196EB1CEF}"/>
          </ac:spMkLst>
        </pc:spChg>
        <pc:spChg chg="mod">
          <ac:chgData name="Loy, Johannes Leopold" userId="49a6c0e1-2baa-4b01-8f84-048a6dcfd176" providerId="ADAL" clId="{24102215-8B6D-4380-8009-822541669133}" dt="2021-07-22T19:49:04.921" v="1888" actId="1076"/>
          <ac:spMkLst>
            <pc:docMk/>
            <pc:sldMk cId="1996377858" sldId="1064"/>
            <ac:spMk id="3" creationId="{AB10CF39-9DF2-44A0-AD56-DA427741F6FD}"/>
          </ac:spMkLst>
        </pc:spChg>
        <pc:spChg chg="add mod ord">
          <ac:chgData name="Loy, Johannes Leopold" userId="49a6c0e1-2baa-4b01-8f84-048a6dcfd176" providerId="ADAL" clId="{24102215-8B6D-4380-8009-822541669133}" dt="2021-07-22T20:24:44.174" v="2226" actId="1076"/>
          <ac:spMkLst>
            <pc:docMk/>
            <pc:sldMk cId="1996377858" sldId="1064"/>
            <ac:spMk id="6" creationId="{D58EB601-A87F-48F6-A7DC-FA6D971695DA}"/>
          </ac:spMkLst>
        </pc:spChg>
        <pc:spChg chg="add mod">
          <ac:chgData name="Loy, Johannes Leopold" userId="49a6c0e1-2baa-4b01-8f84-048a6dcfd176" providerId="ADAL" clId="{24102215-8B6D-4380-8009-822541669133}" dt="2021-07-22T19:48:55.729" v="1885" actId="1036"/>
          <ac:spMkLst>
            <pc:docMk/>
            <pc:sldMk cId="1996377858" sldId="1064"/>
            <ac:spMk id="8" creationId="{3C246047-BAB2-4BB7-A4A8-DE98D4FB4A6D}"/>
          </ac:spMkLst>
        </pc:spChg>
        <pc:spChg chg="add mod">
          <ac:chgData name="Loy, Johannes Leopold" userId="49a6c0e1-2baa-4b01-8f84-048a6dcfd176" providerId="ADAL" clId="{24102215-8B6D-4380-8009-822541669133}" dt="2021-07-22T19:48:55.729" v="1885" actId="1036"/>
          <ac:spMkLst>
            <pc:docMk/>
            <pc:sldMk cId="1996377858" sldId="1064"/>
            <ac:spMk id="9" creationId="{CF272F4E-51FA-4746-A1D1-97CFE860C151}"/>
          </ac:spMkLst>
        </pc:spChg>
        <pc:spChg chg="add mod">
          <ac:chgData name="Loy, Johannes Leopold" userId="49a6c0e1-2baa-4b01-8f84-048a6dcfd176" providerId="ADAL" clId="{24102215-8B6D-4380-8009-822541669133}" dt="2021-07-22T20:25:37.900" v="2242" actId="207"/>
          <ac:spMkLst>
            <pc:docMk/>
            <pc:sldMk cId="1996377858" sldId="1064"/>
            <ac:spMk id="10" creationId="{BE07E446-64AA-4EE3-A673-A104542BFAFD}"/>
          </ac:spMkLst>
        </pc:spChg>
        <pc:picChg chg="mod">
          <ac:chgData name="Loy, Johannes Leopold" userId="49a6c0e1-2baa-4b01-8f84-048a6dcfd176" providerId="ADAL" clId="{24102215-8B6D-4380-8009-822541669133}" dt="2021-07-22T19:48:55.729" v="1885" actId="1036"/>
          <ac:picMkLst>
            <pc:docMk/>
            <pc:sldMk cId="1996377858" sldId="1064"/>
            <ac:picMk id="4" creationId="{762D51C1-13C7-49BC-8EBC-C8D12F6E4173}"/>
          </ac:picMkLst>
        </pc:picChg>
        <pc:picChg chg="add mod">
          <ac:chgData name="Loy, Johannes Leopold" userId="49a6c0e1-2baa-4b01-8f84-048a6dcfd176" providerId="ADAL" clId="{24102215-8B6D-4380-8009-822541669133}" dt="2021-07-22T19:48:55.729" v="1885" actId="1036"/>
          <ac:picMkLst>
            <pc:docMk/>
            <pc:sldMk cId="1996377858" sldId="1064"/>
            <ac:picMk id="5" creationId="{73E0ABE0-00B4-4711-8434-04FF7DF4B692}"/>
          </ac:picMkLst>
        </pc:picChg>
        <pc:picChg chg="add mod">
          <ac:chgData name="Loy, Johannes Leopold" userId="49a6c0e1-2baa-4b01-8f84-048a6dcfd176" providerId="ADAL" clId="{24102215-8B6D-4380-8009-822541669133}" dt="2021-07-21T14:38:00.423" v="1513" actId="1076"/>
          <ac:picMkLst>
            <pc:docMk/>
            <pc:sldMk cId="1996377858" sldId="1064"/>
            <ac:picMk id="7" creationId="{0C431501-3FDA-4D8F-BE0D-68849BBB08D0}"/>
          </ac:picMkLst>
        </pc:picChg>
      </pc:sldChg>
      <pc:sldChg chg="del">
        <pc:chgData name="Loy, Johannes Leopold" userId="49a6c0e1-2baa-4b01-8f84-048a6dcfd176" providerId="ADAL" clId="{24102215-8B6D-4380-8009-822541669133}" dt="2021-07-21T14:29:12.095" v="1289" actId="47"/>
        <pc:sldMkLst>
          <pc:docMk/>
          <pc:sldMk cId="465637422" sldId="1066"/>
        </pc:sldMkLst>
      </pc:sldChg>
      <pc:sldChg chg="del">
        <pc:chgData name="Loy, Johannes Leopold" userId="49a6c0e1-2baa-4b01-8f84-048a6dcfd176" providerId="ADAL" clId="{24102215-8B6D-4380-8009-822541669133}" dt="2021-07-21T14:29:13.239" v="1290" actId="47"/>
        <pc:sldMkLst>
          <pc:docMk/>
          <pc:sldMk cId="3093452522" sldId="1067"/>
        </pc:sldMkLst>
      </pc:sldChg>
      <pc:sldChg chg="addSp delSp modSp mod addCm delCm">
        <pc:chgData name="Loy, Johannes Leopold" userId="49a6c0e1-2baa-4b01-8f84-048a6dcfd176" providerId="ADAL" clId="{24102215-8B6D-4380-8009-822541669133}" dt="2021-07-22T19:45:53.987" v="1845" actId="1076"/>
        <pc:sldMkLst>
          <pc:docMk/>
          <pc:sldMk cId="2276500948" sldId="1069"/>
        </pc:sldMkLst>
        <pc:spChg chg="add del mod">
          <ac:chgData name="Loy, Johannes Leopold" userId="49a6c0e1-2baa-4b01-8f84-048a6dcfd176" providerId="ADAL" clId="{24102215-8B6D-4380-8009-822541669133}" dt="2021-07-21T14:55:17.381" v="1588" actId="478"/>
          <ac:spMkLst>
            <pc:docMk/>
            <pc:sldMk cId="2276500948" sldId="1069"/>
            <ac:spMk id="4" creationId="{A53ACB02-4E13-496F-8CE8-4D58CDF12E50}"/>
          </ac:spMkLst>
        </pc:spChg>
        <pc:spChg chg="add mod">
          <ac:chgData name="Loy, Johannes Leopold" userId="49a6c0e1-2baa-4b01-8f84-048a6dcfd176" providerId="ADAL" clId="{24102215-8B6D-4380-8009-822541669133}" dt="2021-07-22T19:45:47.976" v="1843" actId="1076"/>
          <ac:spMkLst>
            <pc:docMk/>
            <pc:sldMk cId="2276500948" sldId="1069"/>
            <ac:spMk id="4" creationId="{CD7AEF02-413C-4345-A1C1-1E1EDC905CC2}"/>
          </ac:spMkLst>
        </pc:spChg>
        <pc:spChg chg="add mod">
          <ac:chgData name="Loy, Johannes Leopold" userId="49a6c0e1-2baa-4b01-8f84-048a6dcfd176" providerId="ADAL" clId="{24102215-8B6D-4380-8009-822541669133}" dt="2021-07-22T19:45:53.987" v="1845" actId="1076"/>
          <ac:spMkLst>
            <pc:docMk/>
            <pc:sldMk cId="2276500948" sldId="1069"/>
            <ac:spMk id="16" creationId="{499A72F5-8C8F-4B3A-AAEE-66029CBB7B34}"/>
          </ac:spMkLst>
        </pc:spChg>
      </pc:sldChg>
      <pc:sldChg chg="addSp delSp modSp add mod">
        <pc:chgData name="Loy, Johannes Leopold" userId="49a6c0e1-2baa-4b01-8f84-048a6dcfd176" providerId="ADAL" clId="{24102215-8B6D-4380-8009-822541669133}" dt="2021-07-21T14:02:24.834" v="1045"/>
        <pc:sldMkLst>
          <pc:docMk/>
          <pc:sldMk cId="578949836" sldId="1070"/>
        </pc:sldMkLst>
        <pc:spChg chg="mod">
          <ac:chgData name="Loy, Johannes Leopold" userId="49a6c0e1-2baa-4b01-8f84-048a6dcfd176" providerId="ADAL" clId="{24102215-8B6D-4380-8009-822541669133}" dt="2021-07-21T13:58:17.632" v="1023" actId="20577"/>
          <ac:spMkLst>
            <pc:docMk/>
            <pc:sldMk cId="578949836" sldId="1070"/>
            <ac:spMk id="2" creationId="{86940D52-CAF7-46D5-9BE7-77616DCDC369}"/>
          </ac:spMkLst>
        </pc:spChg>
        <pc:picChg chg="add del mod">
          <ac:chgData name="Loy, Johannes Leopold" userId="49a6c0e1-2baa-4b01-8f84-048a6dcfd176" providerId="ADAL" clId="{24102215-8B6D-4380-8009-822541669133}" dt="2021-07-21T14:00:13.100" v="1031" actId="21"/>
          <ac:picMkLst>
            <pc:docMk/>
            <pc:sldMk cId="578949836" sldId="1070"/>
            <ac:picMk id="6" creationId="{08B4B540-A7E9-41E5-B27B-ECE6A5BB44BB}"/>
          </ac:picMkLst>
        </pc:picChg>
        <pc:picChg chg="del">
          <ac:chgData name="Loy, Johannes Leopold" userId="49a6c0e1-2baa-4b01-8f84-048a6dcfd176" providerId="ADAL" clId="{24102215-8B6D-4380-8009-822541669133}" dt="2021-07-21T13:58:09.250" v="1006" actId="478"/>
          <ac:picMkLst>
            <pc:docMk/>
            <pc:sldMk cId="578949836" sldId="1070"/>
            <ac:picMk id="141314" creationId="{FE3E2776-AB9F-426D-8337-434156AA9424}"/>
          </ac:picMkLst>
        </pc:picChg>
        <pc:picChg chg="add del mod">
          <ac:chgData name="Loy, Johannes Leopold" userId="49a6c0e1-2baa-4b01-8f84-048a6dcfd176" providerId="ADAL" clId="{24102215-8B6D-4380-8009-822541669133}" dt="2021-07-21T14:02:08.317" v="1043" actId="478"/>
          <ac:picMkLst>
            <pc:docMk/>
            <pc:sldMk cId="578949836" sldId="1070"/>
            <ac:picMk id="149506" creationId="{69E15705-20BE-4D83-9E9B-4B327788A407}"/>
          </ac:picMkLst>
        </pc:picChg>
        <pc:picChg chg="add mod">
          <ac:chgData name="Loy, Johannes Leopold" userId="49a6c0e1-2baa-4b01-8f84-048a6dcfd176" providerId="ADAL" clId="{24102215-8B6D-4380-8009-822541669133}" dt="2021-07-21T14:02:24.834" v="1045"/>
          <ac:picMkLst>
            <pc:docMk/>
            <pc:sldMk cId="578949836" sldId="1070"/>
            <ac:picMk id="149508" creationId="{CC20EF45-89A2-4982-B35D-052D504B69F2}"/>
          </ac:picMkLst>
        </pc:picChg>
      </pc:sldChg>
      <pc:sldChg chg="addSp modSp add mod">
        <pc:chgData name="Loy, Johannes Leopold" userId="49a6c0e1-2baa-4b01-8f84-048a6dcfd176" providerId="ADAL" clId="{24102215-8B6D-4380-8009-822541669133}" dt="2021-07-21T14:00:14.466" v="1032"/>
        <pc:sldMkLst>
          <pc:docMk/>
          <pc:sldMk cId="232472436" sldId="1071"/>
        </pc:sldMkLst>
        <pc:spChg chg="mod">
          <ac:chgData name="Loy, Johannes Leopold" userId="49a6c0e1-2baa-4b01-8f84-048a6dcfd176" providerId="ADAL" clId="{24102215-8B6D-4380-8009-822541669133}" dt="2021-07-21T13:59:29.870" v="1029" actId="20577"/>
          <ac:spMkLst>
            <pc:docMk/>
            <pc:sldMk cId="232472436" sldId="1071"/>
            <ac:spMk id="2" creationId="{86940D52-CAF7-46D5-9BE7-77616DCDC369}"/>
          </ac:spMkLst>
        </pc:spChg>
        <pc:picChg chg="add mod">
          <ac:chgData name="Loy, Johannes Leopold" userId="49a6c0e1-2baa-4b01-8f84-048a6dcfd176" providerId="ADAL" clId="{24102215-8B6D-4380-8009-822541669133}" dt="2021-07-21T14:00:14.466" v="1032"/>
          <ac:picMkLst>
            <pc:docMk/>
            <pc:sldMk cId="232472436" sldId="1071"/>
            <ac:picMk id="5" creationId="{6D8524B0-D8BA-40DB-9F1D-B4C9DF7849B5}"/>
          </ac:picMkLst>
        </pc:picChg>
      </pc:sldChg>
      <pc:sldChg chg="modSp mod">
        <pc:chgData name="Loy, Johannes Leopold" userId="49a6c0e1-2baa-4b01-8f84-048a6dcfd176" providerId="ADAL" clId="{24102215-8B6D-4380-8009-822541669133}" dt="2021-07-21T14:32:36.894" v="1370" actId="20577"/>
        <pc:sldMkLst>
          <pc:docMk/>
          <pc:sldMk cId="2752072783" sldId="1072"/>
        </pc:sldMkLst>
        <pc:spChg chg="mod">
          <ac:chgData name="Loy, Johannes Leopold" userId="49a6c0e1-2baa-4b01-8f84-048a6dcfd176" providerId="ADAL" clId="{24102215-8B6D-4380-8009-822541669133}" dt="2021-07-21T14:32:36.894" v="1370" actId="20577"/>
          <ac:spMkLst>
            <pc:docMk/>
            <pc:sldMk cId="2752072783" sldId="1072"/>
            <ac:spMk id="3" creationId="{7A45204B-E43B-43FF-B6D3-0D87A5F8D17D}"/>
          </ac:spMkLst>
        </pc:spChg>
      </pc:sldChg>
      <pc:sldChg chg="addSp modSp new mod">
        <pc:chgData name="Loy, Johannes Leopold" userId="49a6c0e1-2baa-4b01-8f84-048a6dcfd176" providerId="ADAL" clId="{24102215-8B6D-4380-8009-822541669133}" dt="2021-07-22T20:04:10.483" v="2040" actId="1076"/>
        <pc:sldMkLst>
          <pc:docMk/>
          <pc:sldMk cId="1489069121" sldId="1073"/>
        </pc:sldMkLst>
        <pc:spChg chg="mod">
          <ac:chgData name="Loy, Johannes Leopold" userId="49a6c0e1-2baa-4b01-8f84-048a6dcfd176" providerId="ADAL" clId="{24102215-8B6D-4380-8009-822541669133}" dt="2021-07-21T14:30:37.534" v="1322" actId="5793"/>
          <ac:spMkLst>
            <pc:docMk/>
            <pc:sldMk cId="1489069121" sldId="1073"/>
            <ac:spMk id="2" creationId="{52C4011A-D604-40E4-8903-BB01B5C72AF3}"/>
          </ac:spMkLst>
        </pc:spChg>
        <pc:spChg chg="add mod">
          <ac:chgData name="Loy, Johannes Leopold" userId="49a6c0e1-2baa-4b01-8f84-048a6dcfd176" providerId="ADAL" clId="{24102215-8B6D-4380-8009-822541669133}" dt="2021-07-22T20:03:56.167" v="2036" actId="1076"/>
          <ac:spMkLst>
            <pc:docMk/>
            <pc:sldMk cId="1489069121" sldId="1073"/>
            <ac:spMk id="4" creationId="{2C84062E-923A-4B84-8F0C-3488023EC727}"/>
          </ac:spMkLst>
        </pc:spChg>
        <pc:spChg chg="add mod">
          <ac:chgData name="Loy, Johannes Leopold" userId="49a6c0e1-2baa-4b01-8f84-048a6dcfd176" providerId="ADAL" clId="{24102215-8B6D-4380-8009-822541669133}" dt="2021-07-22T20:04:10.483" v="2040" actId="1076"/>
          <ac:spMkLst>
            <pc:docMk/>
            <pc:sldMk cId="1489069121" sldId="1073"/>
            <ac:spMk id="7" creationId="{87C8A570-BB2E-481D-BADE-8D0F24818827}"/>
          </ac:spMkLst>
        </pc:spChg>
        <pc:picChg chg="mod">
          <ac:chgData name="Loy, Johannes Leopold" userId="49a6c0e1-2baa-4b01-8f84-048a6dcfd176" providerId="ADAL" clId="{24102215-8B6D-4380-8009-822541669133}" dt="2021-07-22T20:03:16.379" v="2016" actId="1076"/>
          <ac:picMkLst>
            <pc:docMk/>
            <pc:sldMk cId="1489069121" sldId="1073"/>
            <ac:picMk id="5" creationId="{BDF9306A-60E7-4000-986B-CFF25FAE1222}"/>
          </ac:picMkLst>
        </pc:picChg>
        <pc:picChg chg="mod">
          <ac:chgData name="Loy, Johannes Leopold" userId="49a6c0e1-2baa-4b01-8f84-048a6dcfd176" providerId="ADAL" clId="{24102215-8B6D-4380-8009-822541669133}" dt="2021-07-22T19:59:17.278" v="1983" actId="1076"/>
          <ac:picMkLst>
            <pc:docMk/>
            <pc:sldMk cId="1489069121" sldId="1073"/>
            <ac:picMk id="6" creationId="{D489673F-DF8A-4F30-AB58-BBED4406DFD0}"/>
          </ac:picMkLst>
        </pc:picChg>
      </pc:sldChg>
      <pc:sldChg chg="addSp delSp modSp add mod ord">
        <pc:chgData name="Loy, Johannes Leopold" userId="49a6c0e1-2baa-4b01-8f84-048a6dcfd176" providerId="ADAL" clId="{24102215-8B6D-4380-8009-822541669133}" dt="2021-07-22T20:18:23.943" v="2127" actId="20577"/>
        <pc:sldMkLst>
          <pc:docMk/>
          <pc:sldMk cId="1190020464" sldId="1074"/>
        </pc:sldMkLst>
        <pc:spChg chg="mod">
          <ac:chgData name="Loy, Johannes Leopold" userId="49a6c0e1-2baa-4b01-8f84-048a6dcfd176" providerId="ADAL" clId="{24102215-8B6D-4380-8009-822541669133}" dt="2021-07-22T20:18:23.943" v="2127" actId="20577"/>
          <ac:spMkLst>
            <pc:docMk/>
            <pc:sldMk cId="1190020464" sldId="1074"/>
            <ac:spMk id="2" creationId="{DE519B9B-9193-4140-874C-B30196EB1CEF}"/>
          </ac:spMkLst>
        </pc:spChg>
        <pc:spChg chg="add mod">
          <ac:chgData name="Loy, Johannes Leopold" userId="49a6c0e1-2baa-4b01-8f84-048a6dcfd176" providerId="ADAL" clId="{24102215-8B6D-4380-8009-822541669133}" dt="2021-07-22T20:18:16.529" v="2123"/>
          <ac:spMkLst>
            <pc:docMk/>
            <pc:sldMk cId="1190020464" sldId="1074"/>
            <ac:spMk id="10" creationId="{20CF6FD4-9199-4E59-91A6-0B60C0BD6412}"/>
          </ac:spMkLst>
        </pc:spChg>
        <pc:spChg chg="mod">
          <ac:chgData name="Loy, Johannes Leopold" userId="49a6c0e1-2baa-4b01-8f84-048a6dcfd176" providerId="ADAL" clId="{24102215-8B6D-4380-8009-822541669133}" dt="2021-07-22T20:17:41.284" v="2119" actId="20577"/>
          <ac:spMkLst>
            <pc:docMk/>
            <pc:sldMk cId="1190020464" sldId="1074"/>
            <ac:spMk id="12" creationId="{41232EB3-2186-4ECD-8682-4EA4A8C1DC4F}"/>
          </ac:spMkLst>
        </pc:spChg>
        <pc:spChg chg="del mod">
          <ac:chgData name="Loy, Johannes Leopold" userId="49a6c0e1-2baa-4b01-8f84-048a6dcfd176" providerId="ADAL" clId="{24102215-8B6D-4380-8009-822541669133}" dt="2021-07-22T20:18:16.013" v="2122" actId="478"/>
          <ac:spMkLst>
            <pc:docMk/>
            <pc:sldMk cId="1190020464" sldId="1074"/>
            <ac:spMk id="13" creationId="{6B731578-A4D5-4303-94E9-05DD6D6EEB36}"/>
          </ac:spMkLst>
        </pc:spChg>
        <pc:spChg chg="mod">
          <ac:chgData name="Loy, Johannes Leopold" userId="49a6c0e1-2baa-4b01-8f84-048a6dcfd176" providerId="ADAL" clId="{24102215-8B6D-4380-8009-822541669133}" dt="2021-07-22T20:17:10.348" v="2117" actId="20577"/>
          <ac:spMkLst>
            <pc:docMk/>
            <pc:sldMk cId="1190020464" sldId="1074"/>
            <ac:spMk id="14" creationId="{8CC65623-1D82-497A-8CF7-B145A355C0C5}"/>
          </ac:spMkLst>
        </pc:spChg>
        <pc:picChg chg="del">
          <ac:chgData name="Loy, Johannes Leopold" userId="49a6c0e1-2baa-4b01-8f84-048a6dcfd176" providerId="ADAL" clId="{24102215-8B6D-4380-8009-822541669133}" dt="2021-07-22T19:12:43.423" v="1720" actId="478"/>
          <ac:picMkLst>
            <pc:docMk/>
            <pc:sldMk cId="1190020464" sldId="1074"/>
            <ac:picMk id="5" creationId="{387E3F0B-29BB-4D9A-B07D-E1ECC1117052}"/>
          </ac:picMkLst>
        </pc:picChg>
        <pc:picChg chg="del">
          <ac:chgData name="Loy, Johannes Leopold" userId="49a6c0e1-2baa-4b01-8f84-048a6dcfd176" providerId="ADAL" clId="{24102215-8B6D-4380-8009-822541669133}" dt="2021-07-22T19:12:43.821" v="1721" actId="478"/>
          <ac:picMkLst>
            <pc:docMk/>
            <pc:sldMk cId="1190020464" sldId="1074"/>
            <ac:picMk id="11" creationId="{D327EF69-2BBA-435B-9A21-F8F7254786C7}"/>
          </ac:picMkLst>
        </pc:picChg>
        <pc:picChg chg="add mod">
          <ac:chgData name="Loy, Johannes Leopold" userId="49a6c0e1-2baa-4b01-8f84-048a6dcfd176" providerId="ADAL" clId="{24102215-8B6D-4380-8009-822541669133}" dt="2021-07-22T19:49:56.025" v="1893" actId="1076"/>
          <ac:picMkLst>
            <pc:docMk/>
            <pc:sldMk cId="1190020464" sldId="1074"/>
            <ac:picMk id="2050" creationId="{FD7E4D8C-6504-4955-A26F-44B68600C823}"/>
          </ac:picMkLst>
        </pc:picChg>
      </pc:sldChg>
    </pc:docChg>
  </pc:docChgLst>
  <pc:docChgLst>
    <pc:chgData name="Diener, David Philipp" userId="S::unkbu@student.kit.edu::ba55c3d9-c1b2-4644-86f3-91300438b0f5" providerId="AD" clId="Web-{76D240AC-C30B-4B5D-81D8-0896A0E9D5FA}"/>
    <pc:docChg chg="modSld">
      <pc:chgData name="Diener, David Philipp" userId="S::unkbu@student.kit.edu::ba55c3d9-c1b2-4644-86f3-91300438b0f5" providerId="AD" clId="Web-{76D240AC-C30B-4B5D-81D8-0896A0E9D5FA}" dt="2021-07-22T13:31:40.296" v="1" actId="20577"/>
      <pc:docMkLst>
        <pc:docMk/>
      </pc:docMkLst>
      <pc:sldChg chg="modSp">
        <pc:chgData name="Diener, David Philipp" userId="S::unkbu@student.kit.edu::ba55c3d9-c1b2-4644-86f3-91300438b0f5" providerId="AD" clId="Web-{76D240AC-C30B-4B5D-81D8-0896A0E9D5FA}" dt="2021-07-22T13:31:40.296" v="1" actId="20577"/>
        <pc:sldMkLst>
          <pc:docMk/>
          <pc:sldMk cId="2275217941" sldId="1039"/>
        </pc:sldMkLst>
        <pc:spChg chg="mod">
          <ac:chgData name="Diener, David Philipp" userId="S::unkbu@student.kit.edu::ba55c3d9-c1b2-4644-86f3-91300438b0f5" providerId="AD" clId="Web-{76D240AC-C30B-4B5D-81D8-0896A0E9D5FA}" dt="2021-07-22T13:31:40.296" v="1" actId="20577"/>
          <ac:spMkLst>
            <pc:docMk/>
            <pc:sldMk cId="2275217941" sldId="1039"/>
            <ac:spMk id="2" creationId="{DE519B9B-9193-4140-874C-B30196EB1CEF}"/>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BB4006C-37F1-493F-94F4-2F11FD29F4A8}"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de-DE"/>
        </a:p>
      </dgm:t>
    </dgm:pt>
    <dgm:pt modelId="{601733EB-E3F7-417B-A5D6-3591641662D1}" type="pres">
      <dgm:prSet presAssocID="{5BB4006C-37F1-493F-94F4-2F11FD29F4A8}" presName="cycle" presStyleCnt="0">
        <dgm:presLayoutVars>
          <dgm:chMax val="1"/>
          <dgm:dir/>
          <dgm:animLvl val="ctr"/>
          <dgm:resizeHandles val="exact"/>
        </dgm:presLayoutVars>
      </dgm:prSet>
      <dgm:spPr/>
    </dgm:pt>
  </dgm:ptLst>
  <dgm:cxnLst>
    <dgm:cxn modelId="{CE56C289-AF98-4F64-8B34-1CDE533B15F0}" type="presOf" srcId="{5BB4006C-37F1-493F-94F4-2F11FD29F4A8}" destId="{601733EB-E3F7-417B-A5D6-3591641662D1}" srcOrd="0"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2945659" cy="498056"/>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850446" y="3"/>
            <a:ext cx="2945659" cy="498056"/>
          </a:xfrm>
          <a:prstGeom prst="rect">
            <a:avLst/>
          </a:prstGeom>
        </p:spPr>
        <p:txBody>
          <a:bodyPr vert="horz" lIns="92492" tIns="46246" rIns="92492" bIns="46246" rtlCol="0"/>
          <a:lstStyle>
            <a:lvl1pPr algn="r">
              <a:defRPr sz="1200"/>
            </a:lvl1pPr>
          </a:lstStyle>
          <a:p>
            <a:fld id="{57691E93-EF64-46CC-85E2-BBB5BEDB9501}" type="datetimeFigureOut">
              <a:rPr lang="en-US" sz="800"/>
              <a:t>7/22/2021</a:t>
            </a:fld>
            <a:endParaRPr lang="en-US" sz="800"/>
          </a:p>
        </p:txBody>
      </p:sp>
      <p:sp>
        <p:nvSpPr>
          <p:cNvPr id="4" name="Footer Placeholder 3"/>
          <p:cNvSpPr>
            <a:spLocks noGrp="1"/>
          </p:cNvSpPr>
          <p:nvPr>
            <p:ph type="ftr" sz="quarter" idx="2"/>
          </p:nvPr>
        </p:nvSpPr>
        <p:spPr>
          <a:xfrm>
            <a:off x="2" y="9428587"/>
            <a:ext cx="2945659" cy="498055"/>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850446" y="9428587"/>
            <a:ext cx="2945659" cy="498055"/>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40502"/>
            <a:ext cx="6796102" cy="518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80620" y="3"/>
            <a:ext cx="2865041" cy="498056"/>
          </a:xfrm>
          <a:prstGeom prst="rect">
            <a:avLst/>
          </a:prstGeom>
        </p:spPr>
        <p:txBody>
          <a:bodyPr vert="horz" lIns="92492" tIns="46246" rIns="92492" bIns="46246" rtlCol="0"/>
          <a:lstStyle>
            <a:lvl1pPr algn="l">
              <a:defRPr sz="1400"/>
            </a:lvl1pPr>
          </a:lstStyle>
          <a:p>
            <a:endParaRPr lang="en-US"/>
          </a:p>
        </p:txBody>
      </p:sp>
      <p:sp>
        <p:nvSpPr>
          <p:cNvPr id="4" name="Slide Image Placeholder 3"/>
          <p:cNvSpPr>
            <a:spLocks noGrp="1" noRot="1" noChangeAspect="1"/>
          </p:cNvSpPr>
          <p:nvPr>
            <p:ph type="sldImg" idx="2"/>
          </p:nvPr>
        </p:nvSpPr>
        <p:spPr>
          <a:xfrm>
            <a:off x="-168275" y="617538"/>
            <a:ext cx="7116763" cy="4003675"/>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0620" y="9397875"/>
            <a:ext cx="2865041" cy="498055"/>
          </a:xfrm>
          <a:prstGeom prst="rect">
            <a:avLst/>
          </a:prstGeom>
        </p:spPr>
        <p:txBody>
          <a:bodyPr vert="horz" lIns="92492" tIns="46246" rIns="92492" bIns="46246" rtlCol="0" anchor="b"/>
          <a:lstStyle>
            <a:lvl1pPr algn="l">
              <a:defRPr sz="1400"/>
            </a:lvl1pPr>
          </a:lstStyle>
          <a:p>
            <a:endParaRPr lang="en-US"/>
          </a:p>
        </p:txBody>
      </p:sp>
      <p:sp>
        <p:nvSpPr>
          <p:cNvPr id="7" name="Slide Number Placeholder 6"/>
          <p:cNvSpPr>
            <a:spLocks noGrp="1"/>
          </p:cNvSpPr>
          <p:nvPr>
            <p:ph type="sldNum" sz="quarter" idx="5"/>
          </p:nvPr>
        </p:nvSpPr>
        <p:spPr>
          <a:xfrm>
            <a:off x="3850446" y="9397875"/>
            <a:ext cx="2855929" cy="498055"/>
          </a:xfrm>
          <a:prstGeom prst="rect">
            <a:avLst/>
          </a:prstGeom>
        </p:spPr>
        <p:txBody>
          <a:bodyPr vert="horz" lIns="92492" tIns="46246" rIns="92492" bIns="46246"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3828" y="5067159"/>
            <a:ext cx="6272792" cy="4050744"/>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850670" y="0"/>
            <a:ext cx="2945453" cy="498209"/>
          </a:xfrm>
          <a:prstGeom prst="rect">
            <a:avLst/>
          </a:prstGeom>
        </p:spPr>
        <p:txBody>
          <a:bodyPr vert="horz" lIns="91440" tIns="45720" rIns="91440" bIns="45720" rtlCol="0"/>
          <a:lstStyle>
            <a:lvl1pPr algn="r">
              <a:defRPr sz="1200"/>
            </a:lvl1pPr>
          </a:lstStyle>
          <a:p>
            <a:fld id="{F2C7CF5F-7CF3-4DF3-838A-EE34544862CC}" type="datetimeFigureOut">
              <a:rPr lang="en-US" smtClean="0"/>
              <a:t>7/22/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8"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20559546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err="1"/>
              <a:t>Erklärung</a:t>
            </a:r>
            <a:r>
              <a:rPr lang="en-GB"/>
              <a:t> </a:t>
            </a:r>
            <a:r>
              <a:rPr lang="en-GB" err="1"/>
              <a:t>hier</a:t>
            </a:r>
            <a:r>
              <a:rPr lang="en-GB"/>
              <a:t> </a:t>
            </a:r>
            <a:r>
              <a:rPr lang="en-GB" err="1"/>
              <a:t>wichtig</a:t>
            </a:r>
            <a:r>
              <a:rPr lang="en-GB"/>
              <a:t>: </a:t>
            </a:r>
            <a:r>
              <a:rPr lang="en-GB" err="1"/>
              <a:t>sagen</a:t>
            </a:r>
            <a:r>
              <a:rPr lang="en-GB"/>
              <a:t> was positive </a:t>
            </a:r>
            <a:r>
              <a:rPr lang="en-GB" err="1"/>
              <a:t>werte</a:t>
            </a:r>
            <a:r>
              <a:rPr lang="en-GB"/>
              <a:t> </a:t>
            </a:r>
            <a:r>
              <a:rPr lang="en-GB" err="1"/>
              <a:t>sind</a:t>
            </a:r>
            <a:r>
              <a:rPr lang="en-GB"/>
              <a:t>. Was </a:t>
            </a:r>
            <a:r>
              <a:rPr lang="en-GB" err="1"/>
              <a:t>ist</a:t>
            </a:r>
            <a:r>
              <a:rPr lang="en-GB"/>
              <a:t> height delta: </a:t>
            </a:r>
            <a:r>
              <a:rPr lang="en-GB" err="1"/>
              <a:t>warum</a:t>
            </a:r>
            <a:r>
              <a:rPr lang="en-GB"/>
              <a:t> : ZENTRAAL: Fundament von </a:t>
            </a:r>
            <a:r>
              <a:rPr lang="en-GB" err="1"/>
              <a:t>unserer</a:t>
            </a:r>
            <a:r>
              <a:rPr lang="en-GB"/>
              <a:t> approach</a:t>
            </a:r>
          </a:p>
          <a:p>
            <a:r>
              <a:rPr lang="en-GB"/>
              <a:t>Height </a:t>
            </a:r>
            <a:r>
              <a:rPr lang="en-GB" err="1"/>
              <a:t>ist</a:t>
            </a:r>
            <a:r>
              <a:rPr lang="en-GB"/>
              <a:t> </a:t>
            </a:r>
            <a:r>
              <a:rPr lang="en-GB" err="1"/>
              <a:t>für</a:t>
            </a:r>
            <a:r>
              <a:rPr lang="en-GB"/>
              <a:t> </a:t>
            </a:r>
            <a:r>
              <a:rPr lang="en-GB" err="1"/>
              <a:t>uns</a:t>
            </a:r>
            <a:r>
              <a:rPr lang="en-GB"/>
              <a:t>: die </a:t>
            </a:r>
            <a:r>
              <a:rPr lang="en-GB" err="1"/>
              <a:t>freie</a:t>
            </a:r>
            <a:r>
              <a:rPr lang="en-GB"/>
              <a:t> </a:t>
            </a:r>
            <a:r>
              <a:rPr lang="en-GB" err="1"/>
              <a:t>Kapazität</a:t>
            </a:r>
            <a:r>
              <a:rPr lang="en-GB"/>
              <a:t> des Containers. </a:t>
            </a:r>
          </a:p>
          <a:p>
            <a:r>
              <a:rPr lang="en-GB"/>
              <a:t>Height delta </a:t>
            </a:r>
            <a:r>
              <a:rPr lang="en-GB" err="1"/>
              <a:t>ist</a:t>
            </a:r>
            <a:r>
              <a:rPr lang="en-GB"/>
              <a:t> </a:t>
            </a:r>
            <a:r>
              <a:rPr lang="en-GB" err="1"/>
              <a:t>wie</a:t>
            </a:r>
            <a:r>
              <a:rPr lang="en-GB"/>
              <a:t> </a:t>
            </a:r>
            <a:r>
              <a:rPr lang="en-GB" err="1"/>
              <a:t>viel</a:t>
            </a:r>
            <a:r>
              <a:rPr lang="en-GB"/>
              <a:t> </a:t>
            </a:r>
            <a:r>
              <a:rPr lang="en-GB" err="1"/>
              <a:t>wurde</a:t>
            </a:r>
            <a:r>
              <a:rPr lang="en-GB"/>
              <a:t> </a:t>
            </a:r>
            <a:r>
              <a:rPr lang="en-GB" err="1"/>
              <a:t>reigeworfen</a:t>
            </a:r>
            <a:endParaRPr lang="de-DE"/>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5221975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a:t>Motivation </a:t>
            </a:r>
            <a:r>
              <a:rPr lang="en-GB" err="1"/>
              <a:t>Warum</a:t>
            </a:r>
            <a:r>
              <a:rPr lang="en-GB"/>
              <a:t>: Wie </a:t>
            </a:r>
          </a:p>
          <a:p>
            <a:r>
              <a:rPr lang="en-GB" err="1"/>
              <a:t>Industriegebiet</a:t>
            </a:r>
            <a:r>
              <a:rPr lang="en-GB"/>
              <a:t> </a:t>
            </a:r>
            <a:r>
              <a:rPr lang="en-GB" err="1"/>
              <a:t>beim</a:t>
            </a:r>
            <a:r>
              <a:rPr lang="en-GB"/>
              <a:t> training war </a:t>
            </a:r>
            <a:r>
              <a:rPr lang="en-GB" err="1"/>
              <a:t>später</a:t>
            </a:r>
            <a:r>
              <a:rPr lang="en-GB"/>
              <a:t> </a:t>
            </a:r>
            <a:r>
              <a:rPr lang="en-GB" err="1"/>
              <a:t>nicht</a:t>
            </a:r>
            <a:r>
              <a:rPr lang="en-GB"/>
              <a:t> </a:t>
            </a:r>
            <a:r>
              <a:rPr lang="en-GB" err="1"/>
              <a:t>mehr</a:t>
            </a:r>
            <a:r>
              <a:rPr lang="en-GB"/>
              <a:t> relevant </a:t>
            </a:r>
            <a:r>
              <a:rPr lang="en-GB" err="1"/>
              <a:t>weil</a:t>
            </a:r>
            <a:r>
              <a:rPr lang="en-GB"/>
              <a:t> container </a:t>
            </a:r>
            <a:r>
              <a:rPr lang="en-GB" err="1"/>
              <a:t>einzeln</a:t>
            </a:r>
            <a:r>
              <a:rPr lang="en-GB"/>
              <a:t> </a:t>
            </a:r>
            <a:r>
              <a:rPr lang="en-GB" err="1"/>
              <a:t>trainiert</a:t>
            </a:r>
            <a:r>
              <a:rPr lang="en-GB"/>
              <a:t> </a:t>
            </a:r>
            <a:r>
              <a:rPr lang="en-GB" err="1"/>
              <a:t>wurden</a:t>
            </a:r>
            <a:endParaRPr lang="de-DE"/>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11</a:t>
            </a:fld>
            <a:endParaRPr lang="en-US"/>
          </a:p>
        </p:txBody>
      </p:sp>
    </p:spTree>
    <p:extLst>
      <p:ext uri="{BB962C8B-B14F-4D97-AF65-F5344CB8AC3E}">
        <p14:creationId xmlns:p14="http://schemas.microsoft.com/office/powerpoint/2010/main" val="21087356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err="1"/>
              <a:t>Sagen</a:t>
            </a:r>
            <a:r>
              <a:rPr lang="en-GB"/>
              <a:t> </a:t>
            </a:r>
            <a:r>
              <a:rPr lang="en-GB" err="1"/>
              <a:t>dass</a:t>
            </a:r>
            <a:r>
              <a:rPr lang="en-GB"/>
              <a:t> </a:t>
            </a:r>
            <a:r>
              <a:rPr lang="en-GB" err="1"/>
              <a:t>wir</a:t>
            </a:r>
            <a:r>
              <a:rPr lang="en-GB"/>
              <a:t> das </a:t>
            </a:r>
            <a:r>
              <a:rPr lang="en-GB" err="1"/>
              <a:t>für</a:t>
            </a:r>
            <a:r>
              <a:rPr lang="en-GB"/>
              <a:t> alle features </a:t>
            </a:r>
            <a:r>
              <a:rPr lang="en-GB" err="1"/>
              <a:t>gemacht</a:t>
            </a:r>
            <a:r>
              <a:rPr lang="en-GB"/>
              <a:t> </a:t>
            </a:r>
            <a:r>
              <a:rPr lang="en-GB" err="1"/>
              <a:t>haben</a:t>
            </a:r>
            <a:r>
              <a:rPr lang="en-GB"/>
              <a:t>. </a:t>
            </a:r>
            <a:r>
              <a:rPr lang="en-GB" b="1"/>
              <a:t>Height </a:t>
            </a:r>
            <a:r>
              <a:rPr lang="en-GB" b="1" err="1"/>
              <a:t>wichtig</a:t>
            </a:r>
            <a:r>
              <a:rPr lang="en-GB" b="1"/>
              <a:t> </a:t>
            </a:r>
            <a:r>
              <a:rPr lang="en-GB" err="1"/>
              <a:t>mehr</a:t>
            </a:r>
            <a:r>
              <a:rPr lang="en-GB"/>
              <a:t> </a:t>
            </a:r>
            <a:r>
              <a:rPr lang="en-GB" err="1"/>
              <a:t>als</a:t>
            </a:r>
            <a:r>
              <a:rPr lang="en-GB"/>
              <a:t> 140 ma kapa </a:t>
            </a:r>
            <a:r>
              <a:rPr lang="en-GB" err="1"/>
              <a:t>laut</a:t>
            </a:r>
            <a:r>
              <a:rPr lang="en-GB"/>
              <a:t> </a:t>
            </a:r>
            <a:r>
              <a:rPr lang="en-GB" err="1"/>
              <a:t>angaben</a:t>
            </a:r>
            <a:r>
              <a:rPr lang="en-GB"/>
              <a:t> und </a:t>
            </a:r>
            <a:r>
              <a:rPr lang="en-GB" err="1"/>
              <a:t>weniger</a:t>
            </a:r>
            <a:r>
              <a:rPr lang="en-GB"/>
              <a:t> </a:t>
            </a:r>
            <a:r>
              <a:rPr lang="en-GB" err="1"/>
              <a:t>als</a:t>
            </a:r>
            <a:r>
              <a:rPr lang="en-GB"/>
              <a:t> 0 </a:t>
            </a:r>
            <a:r>
              <a:rPr lang="en-GB" err="1"/>
              <a:t>haben</a:t>
            </a:r>
            <a:r>
              <a:rPr lang="en-GB"/>
              <a:t> </a:t>
            </a:r>
            <a:r>
              <a:rPr lang="en-GB" err="1"/>
              <a:t>wir</a:t>
            </a:r>
            <a:r>
              <a:rPr lang="en-GB"/>
              <a:t> </a:t>
            </a:r>
            <a:r>
              <a:rPr lang="en-GB" err="1"/>
              <a:t>weggelöscht</a:t>
            </a:r>
            <a:endParaRPr lang="en-GB"/>
          </a:p>
          <a:p>
            <a:r>
              <a:rPr lang="en-GB"/>
              <a:t>Height delta </a:t>
            </a:r>
            <a:r>
              <a:rPr lang="en-GB" err="1"/>
              <a:t>nachgebessert</a:t>
            </a:r>
            <a:r>
              <a:rPr lang="en-GB"/>
              <a:t>: Finetuning und </a:t>
            </a:r>
            <a:r>
              <a:rPr lang="en-GB" err="1"/>
              <a:t>kontinuierliche</a:t>
            </a:r>
            <a:r>
              <a:rPr lang="en-GB"/>
              <a:t> </a:t>
            </a:r>
            <a:r>
              <a:rPr lang="en-GB" err="1"/>
              <a:t>verbesserung</a:t>
            </a:r>
            <a:r>
              <a:rPr lang="en-GB"/>
              <a:t> der </a:t>
            </a:r>
            <a:r>
              <a:rPr lang="en-GB" err="1"/>
              <a:t>Daten</a:t>
            </a:r>
            <a:r>
              <a:rPr lang="en-GB"/>
              <a:t> (</a:t>
            </a:r>
            <a:r>
              <a:rPr lang="en-GB" err="1"/>
              <a:t>im</a:t>
            </a:r>
            <a:r>
              <a:rPr lang="en-GB"/>
              <a:t> </a:t>
            </a:r>
            <a:r>
              <a:rPr lang="en-GB" err="1"/>
              <a:t>bezug</a:t>
            </a:r>
            <a:r>
              <a:rPr lang="en-GB"/>
              <a:t> </a:t>
            </a:r>
            <a:r>
              <a:rPr lang="en-GB" err="1"/>
              <a:t>zu</a:t>
            </a:r>
            <a:r>
              <a:rPr lang="en-GB"/>
              <a:t> den </a:t>
            </a:r>
            <a:r>
              <a:rPr lang="en-GB" err="1"/>
              <a:t>Modelergebnisse</a:t>
            </a:r>
            <a:r>
              <a:rPr lang="en-GB"/>
              <a:t>) </a:t>
            </a:r>
            <a:endParaRPr lang="de-DE"/>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645955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Bild anpassen </a:t>
            </a:r>
            <a:r>
              <a:rPr lang="de-DE" err="1"/>
              <a:t>index</a:t>
            </a:r>
            <a:endParaRPr lang="de-DE"/>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28625628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err="1"/>
              <a:t>Verschiedene</a:t>
            </a:r>
            <a:r>
              <a:rPr lang="en-GB"/>
              <a:t> </a:t>
            </a:r>
            <a:r>
              <a:rPr lang="en-GB" err="1"/>
              <a:t>Modelle</a:t>
            </a:r>
            <a:r>
              <a:rPr lang="en-GB"/>
              <a:t> </a:t>
            </a:r>
            <a:r>
              <a:rPr lang="en-GB" err="1"/>
              <a:t>ausprobiert</a:t>
            </a:r>
            <a:r>
              <a:rPr lang="en-GB"/>
              <a:t>.</a:t>
            </a:r>
          </a:p>
          <a:p>
            <a:r>
              <a:rPr lang="en-GB"/>
              <a:t>Am </a:t>
            </a:r>
            <a:r>
              <a:rPr lang="en-GB" err="1"/>
              <a:t>ende</a:t>
            </a:r>
            <a:r>
              <a:rPr lang="en-GB"/>
              <a:t> </a:t>
            </a:r>
            <a:r>
              <a:rPr lang="en-GB" err="1"/>
              <a:t>bei</a:t>
            </a:r>
            <a:r>
              <a:rPr lang="en-GB"/>
              <a:t> den 2 </a:t>
            </a:r>
            <a:r>
              <a:rPr lang="en-GB" err="1"/>
              <a:t>geblieben</a:t>
            </a:r>
            <a:r>
              <a:rPr lang="en-GB"/>
              <a:t>: LSTM und </a:t>
            </a:r>
            <a:r>
              <a:rPr lang="en-GB" err="1"/>
              <a:t>Lineare</a:t>
            </a:r>
            <a:r>
              <a:rPr lang="en-GB"/>
              <a:t> Regression</a:t>
            </a:r>
            <a:endParaRPr lang="de-DE"/>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23799383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36873739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err="1"/>
              <a:t>Warum</a:t>
            </a:r>
            <a:r>
              <a:rPr lang="en-GB"/>
              <a:t> LSTM und </a:t>
            </a:r>
            <a:r>
              <a:rPr lang="en-GB" err="1"/>
              <a:t>nicht</a:t>
            </a:r>
            <a:r>
              <a:rPr lang="en-GB"/>
              <a:t> Lin Regression: </a:t>
            </a:r>
            <a:r>
              <a:rPr lang="en-GB" err="1"/>
              <a:t>durch</a:t>
            </a:r>
            <a:r>
              <a:rPr lang="en-GB"/>
              <a:t> </a:t>
            </a:r>
            <a:r>
              <a:rPr lang="en-GB" err="1"/>
              <a:t>Lineare</a:t>
            </a:r>
            <a:r>
              <a:rPr lang="en-GB"/>
              <a:t> regression </a:t>
            </a:r>
            <a:r>
              <a:rPr lang="en-GB" err="1"/>
              <a:t>gehen</a:t>
            </a:r>
            <a:r>
              <a:rPr lang="en-GB"/>
              <a:t> </a:t>
            </a:r>
            <a:r>
              <a:rPr lang="en-GB" err="1"/>
              <a:t>daten</a:t>
            </a:r>
            <a:r>
              <a:rPr lang="en-GB"/>
              <a:t> </a:t>
            </a:r>
            <a:r>
              <a:rPr lang="en-GB" err="1"/>
              <a:t>verloren</a:t>
            </a:r>
            <a:r>
              <a:rPr lang="en-GB"/>
              <a:t>: </a:t>
            </a:r>
            <a:r>
              <a:rPr lang="en-GB" err="1"/>
              <a:t>Welcher</a:t>
            </a:r>
            <a:r>
              <a:rPr lang="en-GB"/>
              <a:t> Datum …</a:t>
            </a:r>
          </a:p>
          <a:p>
            <a:r>
              <a:rPr lang="en-GB" err="1"/>
              <a:t>Wir</a:t>
            </a:r>
            <a:r>
              <a:rPr lang="en-GB"/>
              <a:t> </a:t>
            </a:r>
            <a:r>
              <a:rPr lang="en-GB" err="1"/>
              <a:t>machen</a:t>
            </a:r>
            <a:r>
              <a:rPr lang="en-GB"/>
              <a:t> </a:t>
            </a:r>
            <a:r>
              <a:rPr lang="en-GB" err="1"/>
              <a:t>evntl</a:t>
            </a:r>
            <a:r>
              <a:rPr lang="en-GB"/>
              <a:t>. 2 </a:t>
            </a:r>
            <a:r>
              <a:rPr lang="en-GB" err="1"/>
              <a:t>Folien</a:t>
            </a:r>
            <a:r>
              <a:rPr lang="en-GB"/>
              <a:t> </a:t>
            </a:r>
            <a:r>
              <a:rPr lang="en-GB" err="1"/>
              <a:t>daraus</a:t>
            </a:r>
            <a:r>
              <a:rPr lang="en-GB"/>
              <a:t>. </a:t>
            </a:r>
            <a:r>
              <a:rPr lang="en-GB" err="1"/>
              <a:t>Mehr</a:t>
            </a:r>
            <a:r>
              <a:rPr lang="en-GB"/>
              <a:t> </a:t>
            </a:r>
            <a:r>
              <a:rPr lang="en-GB" err="1"/>
              <a:t>folienn</a:t>
            </a:r>
            <a:r>
              <a:rPr lang="en-GB"/>
              <a:t> </a:t>
            </a:r>
            <a:r>
              <a:rPr lang="en-GB" err="1"/>
              <a:t>für</a:t>
            </a:r>
            <a:r>
              <a:rPr lang="en-GB"/>
              <a:t> LSTM </a:t>
            </a:r>
          </a:p>
          <a:p>
            <a:r>
              <a:rPr lang="en-GB" err="1"/>
              <a:t>Überall</a:t>
            </a:r>
            <a:r>
              <a:rPr lang="en-GB"/>
              <a:t> Height </a:t>
            </a:r>
            <a:r>
              <a:rPr lang="en-GB" err="1"/>
              <a:t>durch</a:t>
            </a:r>
            <a:r>
              <a:rPr lang="en-GB"/>
              <a:t> delta </a:t>
            </a:r>
            <a:r>
              <a:rPr lang="en-GB" err="1"/>
              <a:t>ändern</a:t>
            </a:r>
            <a:r>
              <a:rPr lang="en-GB"/>
              <a:t> </a:t>
            </a:r>
            <a:r>
              <a:rPr lang="en-GB" err="1"/>
              <a:t>für</a:t>
            </a:r>
            <a:r>
              <a:rPr lang="en-GB"/>
              <a:t> die </a:t>
            </a:r>
            <a:r>
              <a:rPr lang="en-GB" err="1"/>
              <a:t>modelle</a:t>
            </a:r>
            <a:r>
              <a:rPr lang="en-GB"/>
              <a:t>: </a:t>
            </a:r>
            <a:r>
              <a:rPr lang="en-GB" err="1"/>
              <a:t>wir</a:t>
            </a:r>
            <a:r>
              <a:rPr lang="en-GB"/>
              <a:t> </a:t>
            </a:r>
            <a:r>
              <a:rPr lang="en-GB" err="1"/>
              <a:t>predicten</a:t>
            </a:r>
            <a:r>
              <a:rPr lang="en-GB"/>
              <a:t> delta und </a:t>
            </a:r>
            <a:r>
              <a:rPr lang="en-GB" err="1"/>
              <a:t>nicht</a:t>
            </a:r>
            <a:r>
              <a:rPr lang="en-GB"/>
              <a:t> die height</a:t>
            </a:r>
            <a:endParaRPr lang="de-DE"/>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428821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1272140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a:t>//**</a:t>
            </a:r>
            <a:r>
              <a:rPr lang="en-GB" err="1"/>
              <a:t>Fangen</a:t>
            </a:r>
            <a:r>
              <a:rPr lang="en-GB"/>
              <a:t> </a:t>
            </a:r>
            <a:r>
              <a:rPr lang="en-GB" err="1"/>
              <a:t>mit</a:t>
            </a:r>
            <a:r>
              <a:rPr lang="en-GB"/>
              <a:t> </a:t>
            </a:r>
            <a:r>
              <a:rPr lang="en-GB" err="1"/>
              <a:t>stündliche</a:t>
            </a:r>
            <a:r>
              <a:rPr lang="en-GB"/>
              <a:t> an. </a:t>
            </a:r>
            <a:r>
              <a:rPr lang="en-GB" err="1"/>
              <a:t>Gemerkt</a:t>
            </a:r>
            <a:r>
              <a:rPr lang="en-GB"/>
              <a:t> </a:t>
            </a:r>
            <a:r>
              <a:rPr lang="en-GB" err="1"/>
              <a:t>zeitaufwendig</a:t>
            </a:r>
            <a:r>
              <a:rPr lang="en-GB"/>
              <a:t>/ </a:t>
            </a:r>
            <a:r>
              <a:rPr lang="en-GB" err="1"/>
              <a:t>Ressourcen</a:t>
            </a:r>
            <a:r>
              <a:rPr lang="en-GB"/>
              <a:t> </a:t>
            </a:r>
            <a:r>
              <a:rPr lang="en-GB">
                <a:sym typeface="Wingdings" panose="05000000000000000000" pitchFamily="2" charset="2"/>
              </a:rPr>
              <a:t> </a:t>
            </a:r>
            <a:r>
              <a:rPr lang="en-GB" err="1">
                <a:sym typeface="Wingdings" panose="05000000000000000000" pitchFamily="2" charset="2"/>
              </a:rPr>
              <a:t>zu</a:t>
            </a:r>
            <a:r>
              <a:rPr lang="en-GB">
                <a:sym typeface="Wingdings" panose="05000000000000000000" pitchFamily="2" charset="2"/>
              </a:rPr>
              <a:t> daily prediction </a:t>
            </a:r>
            <a:r>
              <a:rPr lang="en-GB" err="1">
                <a:sym typeface="Wingdings" panose="05000000000000000000" pitchFamily="2" charset="2"/>
              </a:rPr>
              <a:t>gewechselt</a:t>
            </a:r>
            <a:r>
              <a:rPr lang="en-GB">
                <a:sym typeface="Wingdings" panose="05000000000000000000" pitchFamily="2" charset="2"/>
              </a:rPr>
              <a:t>: </a:t>
            </a:r>
            <a:r>
              <a:rPr lang="en-GB" err="1">
                <a:sym typeface="Wingdings" panose="05000000000000000000" pitchFamily="2" charset="2"/>
              </a:rPr>
              <a:t>weniger</a:t>
            </a:r>
            <a:r>
              <a:rPr lang="en-GB">
                <a:sym typeface="Wingdings" panose="05000000000000000000" pitchFamily="2" charset="2"/>
              </a:rPr>
              <a:t> </a:t>
            </a:r>
            <a:r>
              <a:rPr lang="en-GB" err="1">
                <a:sym typeface="Wingdings" panose="05000000000000000000" pitchFamily="2" charset="2"/>
              </a:rPr>
              <a:t>aufwand</a:t>
            </a:r>
            <a:r>
              <a:rPr lang="en-GB">
                <a:sym typeface="Wingdings" panose="05000000000000000000" pitchFamily="2" charset="2"/>
              </a:rPr>
              <a:t> Zeit/ in </a:t>
            </a:r>
            <a:r>
              <a:rPr lang="en-GB" err="1">
                <a:sym typeface="Wingdings" panose="05000000000000000000" pitchFamily="2" charset="2"/>
              </a:rPr>
              <a:t>einem</a:t>
            </a:r>
            <a:r>
              <a:rPr lang="en-GB">
                <a:sym typeface="Wingdings" panose="05000000000000000000" pitchFamily="2" charset="2"/>
              </a:rPr>
              <a:t> tag </a:t>
            </a:r>
            <a:r>
              <a:rPr lang="en-GB" err="1">
                <a:sym typeface="Wingdings" panose="05000000000000000000" pitchFamily="2" charset="2"/>
              </a:rPr>
              <a:t>passiert</a:t>
            </a:r>
            <a:r>
              <a:rPr lang="en-GB">
                <a:sym typeface="Wingdings" panose="05000000000000000000" pitchFamily="2" charset="2"/>
              </a:rPr>
              <a:t> </a:t>
            </a:r>
            <a:r>
              <a:rPr lang="en-GB" err="1">
                <a:sym typeface="Wingdings" panose="05000000000000000000" pitchFamily="2" charset="2"/>
              </a:rPr>
              <a:t>evntl</a:t>
            </a:r>
            <a:r>
              <a:rPr lang="en-GB">
                <a:sym typeface="Wingdings" panose="05000000000000000000" pitchFamily="2" charset="2"/>
              </a:rPr>
              <a:t> </a:t>
            </a:r>
            <a:r>
              <a:rPr lang="en-GB" err="1">
                <a:sym typeface="Wingdings" panose="05000000000000000000" pitchFamily="2" charset="2"/>
              </a:rPr>
              <a:t>nicht</a:t>
            </a:r>
            <a:r>
              <a:rPr lang="en-GB">
                <a:sym typeface="Wingdings" panose="05000000000000000000" pitchFamily="2" charset="2"/>
              </a:rPr>
              <a:t> </a:t>
            </a:r>
            <a:r>
              <a:rPr lang="en-GB" err="1">
                <a:sym typeface="Wingdings" panose="05000000000000000000" pitchFamily="2" charset="2"/>
              </a:rPr>
              <a:t>viel</a:t>
            </a:r>
            <a:r>
              <a:rPr lang="en-GB">
                <a:sym typeface="Wingdings" panose="05000000000000000000" pitchFamily="2" charset="2"/>
              </a:rPr>
              <a:t>. </a:t>
            </a:r>
            <a:r>
              <a:rPr lang="en-GB" err="1">
                <a:sym typeface="Wingdings" panose="05000000000000000000" pitchFamily="2" charset="2"/>
              </a:rPr>
              <a:t>Im</a:t>
            </a:r>
            <a:r>
              <a:rPr lang="en-GB">
                <a:sym typeface="Wingdings" panose="05000000000000000000" pitchFamily="2" charset="2"/>
              </a:rPr>
              <a:t> </a:t>
            </a:r>
            <a:r>
              <a:rPr lang="en-GB" err="1">
                <a:sym typeface="Wingdings" panose="05000000000000000000" pitchFamily="2" charset="2"/>
              </a:rPr>
              <a:t>endeffekt</a:t>
            </a:r>
            <a:r>
              <a:rPr lang="en-GB">
                <a:sym typeface="Wingdings" panose="05000000000000000000" pitchFamily="2" charset="2"/>
              </a:rPr>
              <a:t> </a:t>
            </a:r>
            <a:r>
              <a:rPr lang="en-GB" err="1">
                <a:sym typeface="Wingdings" panose="05000000000000000000" pitchFamily="2" charset="2"/>
              </a:rPr>
              <a:t>ist</a:t>
            </a:r>
            <a:r>
              <a:rPr lang="en-GB">
                <a:sym typeface="Wingdings" panose="05000000000000000000" pitchFamily="2" charset="2"/>
              </a:rPr>
              <a:t> </a:t>
            </a:r>
            <a:r>
              <a:rPr lang="en-GB" err="1">
                <a:sym typeface="Wingdings" panose="05000000000000000000" pitchFamily="2" charset="2"/>
              </a:rPr>
              <a:t>für</a:t>
            </a:r>
            <a:r>
              <a:rPr lang="en-GB">
                <a:sym typeface="Wingdings" panose="05000000000000000000" pitchFamily="2" charset="2"/>
              </a:rPr>
              <a:t> </a:t>
            </a:r>
            <a:r>
              <a:rPr lang="en-GB" err="1">
                <a:sym typeface="Wingdings" panose="05000000000000000000" pitchFamily="2" charset="2"/>
              </a:rPr>
              <a:t>uns</a:t>
            </a:r>
            <a:r>
              <a:rPr lang="en-GB">
                <a:sym typeface="Wingdings" panose="05000000000000000000" pitchFamily="2" charset="2"/>
              </a:rPr>
              <a:t> date </a:t>
            </a:r>
            <a:r>
              <a:rPr lang="en-GB" err="1">
                <a:sym typeface="Wingdings" panose="05000000000000000000" pitchFamily="2" charset="2"/>
              </a:rPr>
              <a:t>wichtig</a:t>
            </a:r>
            <a:r>
              <a:rPr lang="en-GB">
                <a:sym typeface="Wingdings" panose="05000000000000000000" pitchFamily="2" charset="2"/>
              </a:rPr>
              <a:t> und </a:t>
            </a:r>
            <a:r>
              <a:rPr lang="en-GB" err="1">
                <a:sym typeface="Wingdings" panose="05000000000000000000" pitchFamily="2" charset="2"/>
              </a:rPr>
              <a:t>nicht</a:t>
            </a:r>
            <a:r>
              <a:rPr lang="en-GB">
                <a:sym typeface="Wingdings" panose="05000000000000000000" pitchFamily="2" charset="2"/>
              </a:rPr>
              <a:t> </a:t>
            </a:r>
            <a:r>
              <a:rPr lang="en-GB" err="1">
                <a:sym typeface="Wingdings" panose="05000000000000000000" pitchFamily="2" charset="2"/>
              </a:rPr>
              <a:t>ganz</a:t>
            </a:r>
            <a:r>
              <a:rPr lang="en-GB">
                <a:sym typeface="Wingdings" panose="05000000000000000000" pitchFamily="2" charset="2"/>
              </a:rPr>
              <a:t> </a:t>
            </a:r>
            <a:r>
              <a:rPr lang="en-GB" err="1">
                <a:sym typeface="Wingdings" panose="05000000000000000000" pitchFamily="2" charset="2"/>
              </a:rPr>
              <a:t>genau</a:t>
            </a:r>
            <a:r>
              <a:rPr lang="en-GB">
                <a:sym typeface="Wingdings" panose="05000000000000000000" pitchFamily="2" charset="2"/>
              </a:rPr>
              <a:t> </a:t>
            </a:r>
            <a:r>
              <a:rPr lang="en-GB" err="1">
                <a:sym typeface="Wingdings" panose="05000000000000000000" pitchFamily="2" charset="2"/>
              </a:rPr>
              <a:t>wann</a:t>
            </a:r>
            <a:endParaRPr lang="de-DE"/>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21</a:t>
            </a:fld>
            <a:endParaRPr lang="en-US"/>
          </a:p>
        </p:txBody>
      </p:sp>
    </p:spTree>
    <p:extLst>
      <p:ext uri="{BB962C8B-B14F-4D97-AF65-F5344CB8AC3E}">
        <p14:creationId xmlns:p14="http://schemas.microsoft.com/office/powerpoint/2010/main" val="22756125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a:t>Was </a:t>
            </a:r>
            <a:r>
              <a:rPr lang="en-GB" err="1"/>
              <a:t>krigt</a:t>
            </a:r>
            <a:r>
              <a:rPr lang="en-GB"/>
              <a:t> er </a:t>
            </a:r>
            <a:r>
              <a:rPr lang="en-GB" err="1"/>
              <a:t>als</a:t>
            </a:r>
            <a:r>
              <a:rPr lang="en-GB"/>
              <a:t> input, training (accuracy), was become ich </a:t>
            </a:r>
            <a:r>
              <a:rPr lang="en-GB" err="1"/>
              <a:t>als</a:t>
            </a:r>
            <a:r>
              <a:rPr lang="en-GB"/>
              <a:t> output, </a:t>
            </a:r>
            <a:r>
              <a:rPr lang="en-GB" err="1"/>
              <a:t>wie</a:t>
            </a:r>
            <a:r>
              <a:rPr lang="en-GB"/>
              <a:t> </a:t>
            </a:r>
            <a:r>
              <a:rPr lang="en-GB" err="1"/>
              <a:t>kann</a:t>
            </a:r>
            <a:r>
              <a:rPr lang="en-GB"/>
              <a:t> ich das </a:t>
            </a:r>
            <a:r>
              <a:rPr lang="en-GB" err="1"/>
              <a:t>für</a:t>
            </a:r>
            <a:r>
              <a:rPr lang="en-GB"/>
              <a:t> die GUI </a:t>
            </a:r>
            <a:r>
              <a:rPr lang="en-GB" err="1"/>
              <a:t>weiterbenutzen</a:t>
            </a:r>
            <a:r>
              <a:rPr lang="en-GB"/>
              <a:t>. Was </a:t>
            </a:r>
            <a:r>
              <a:rPr lang="en-GB" err="1"/>
              <a:t>sagt</a:t>
            </a:r>
            <a:r>
              <a:rPr lang="en-GB"/>
              <a:t> mir dieses Output </a:t>
            </a:r>
            <a:r>
              <a:rPr lang="en-GB" err="1"/>
              <a:t>aus.</a:t>
            </a:r>
            <a:r>
              <a:rPr lang="en-GB"/>
              <a:t> </a:t>
            </a:r>
            <a:r>
              <a:rPr lang="en-GB" err="1"/>
              <a:t>Andere</a:t>
            </a:r>
            <a:r>
              <a:rPr lang="en-GB"/>
              <a:t> Parameter </a:t>
            </a:r>
            <a:r>
              <a:rPr lang="en-GB" err="1"/>
              <a:t>wie</a:t>
            </a:r>
            <a:r>
              <a:rPr lang="en-GB"/>
              <a:t> Regen Temp und </a:t>
            </a:r>
            <a:r>
              <a:rPr lang="en-GB" err="1"/>
              <a:t>andere</a:t>
            </a:r>
            <a:r>
              <a:rPr lang="en-GB"/>
              <a:t> Features warden </a:t>
            </a:r>
            <a:r>
              <a:rPr lang="en-GB" err="1"/>
              <a:t>beim</a:t>
            </a:r>
            <a:r>
              <a:rPr lang="en-GB"/>
              <a:t> Training </a:t>
            </a:r>
            <a:r>
              <a:rPr lang="en-GB" err="1"/>
              <a:t>auch</a:t>
            </a:r>
            <a:r>
              <a:rPr lang="en-GB"/>
              <a:t> </a:t>
            </a:r>
            <a:r>
              <a:rPr lang="en-GB" err="1"/>
              <a:t>gefeedet</a:t>
            </a:r>
            <a:r>
              <a:rPr lang="en-GB"/>
              <a:t> (warden </a:t>
            </a:r>
            <a:r>
              <a:rPr lang="en-GB" err="1"/>
              <a:t>beim</a:t>
            </a:r>
            <a:r>
              <a:rPr lang="en-GB"/>
              <a:t> training </a:t>
            </a:r>
            <a:r>
              <a:rPr lang="en-GB" err="1"/>
              <a:t>betrachtet</a:t>
            </a:r>
            <a:r>
              <a:rPr lang="en-GB"/>
              <a:t>)</a:t>
            </a:r>
            <a:endParaRPr lang="de-DE"/>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4198441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a:t>
            </a:fld>
            <a:endParaRPr lang="en-US"/>
          </a:p>
        </p:txBody>
      </p:sp>
    </p:spTree>
    <p:extLst>
      <p:ext uri="{BB962C8B-B14F-4D97-AF65-F5344CB8AC3E}">
        <p14:creationId xmlns:p14="http://schemas.microsoft.com/office/powerpoint/2010/main" val="9359218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err="1"/>
              <a:t>Gui</a:t>
            </a:r>
            <a:r>
              <a:rPr lang="en-GB"/>
              <a:t> + business value.</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4</a:t>
            </a:fld>
            <a:endParaRPr lang="en-US"/>
          </a:p>
        </p:txBody>
      </p:sp>
    </p:spTree>
    <p:extLst>
      <p:ext uri="{BB962C8B-B14F-4D97-AF65-F5344CB8AC3E}">
        <p14:creationId xmlns:p14="http://schemas.microsoft.com/office/powerpoint/2010/main" val="11416329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err="1"/>
              <a:t>Gui</a:t>
            </a:r>
            <a:r>
              <a:rPr lang="en-GB"/>
              <a:t> : </a:t>
            </a:r>
            <a:r>
              <a:rPr lang="en-GB" err="1"/>
              <a:t>evntl</a:t>
            </a:r>
            <a:r>
              <a:rPr lang="en-GB"/>
              <a:t> if 0 </a:t>
            </a:r>
            <a:r>
              <a:rPr lang="en-GB" err="1"/>
              <a:t>erreicht</a:t>
            </a:r>
            <a:r>
              <a:rPr lang="en-GB"/>
              <a:t> </a:t>
            </a:r>
            <a:r>
              <a:rPr lang="en-GB" err="1"/>
              <a:t>wird</a:t>
            </a:r>
            <a:r>
              <a:rPr lang="en-GB"/>
              <a:t>. </a:t>
            </a:r>
            <a:r>
              <a:rPr lang="en-GB" err="1"/>
              <a:t>Wird</a:t>
            </a:r>
            <a:r>
              <a:rPr lang="en-GB"/>
              <a:t> direct </a:t>
            </a:r>
            <a:r>
              <a:rPr lang="en-GB" err="1"/>
              <a:t>geleert</a:t>
            </a:r>
            <a:r>
              <a:rPr lang="en-GB"/>
              <a:t>: dh direct auf 140 </a:t>
            </a:r>
            <a:r>
              <a:rPr lang="en-GB" err="1"/>
              <a:t>gehen</a:t>
            </a:r>
            <a:r>
              <a:rPr lang="en-GB"/>
              <a:t> + date </a:t>
            </a:r>
            <a:r>
              <a:rPr lang="en-GB" err="1"/>
              <a:t>dazu</a:t>
            </a:r>
            <a:r>
              <a:rPr lang="en-GB"/>
              <a:t> </a:t>
            </a:r>
            <a:r>
              <a:rPr lang="en-GB" err="1"/>
              <a:t>printen</a:t>
            </a:r>
            <a:r>
              <a:rPr lang="en-GB"/>
              <a:t>: </a:t>
            </a:r>
            <a:r>
              <a:rPr lang="en-GB" err="1"/>
              <a:t>dann</a:t>
            </a:r>
            <a:r>
              <a:rPr lang="en-GB"/>
              <a:t> </a:t>
            </a:r>
            <a:r>
              <a:rPr lang="en-GB" err="1"/>
              <a:t>haben</a:t>
            </a:r>
            <a:r>
              <a:rPr lang="en-GB"/>
              <a:t> </a:t>
            </a:r>
            <a:r>
              <a:rPr lang="en-GB" err="1"/>
              <a:t>wir</a:t>
            </a:r>
            <a:r>
              <a:rPr lang="en-GB"/>
              <a:t> wo es optimal </a:t>
            </a:r>
            <a:r>
              <a:rPr lang="en-GB" err="1"/>
              <a:t>ist</a:t>
            </a:r>
            <a:r>
              <a:rPr lang="en-GB"/>
              <a:t> </a:t>
            </a:r>
            <a:r>
              <a:rPr lang="en-GB" err="1"/>
              <a:t>zu</a:t>
            </a:r>
            <a:r>
              <a:rPr lang="en-GB"/>
              <a:t> </a:t>
            </a:r>
            <a:r>
              <a:rPr lang="en-GB" err="1"/>
              <a:t>entleeren</a:t>
            </a:r>
            <a:r>
              <a:rPr lang="en-GB"/>
              <a:t>.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a:t>Business value: </a:t>
            </a:r>
            <a:r>
              <a:rPr lang="en-GB" err="1"/>
              <a:t>nur</a:t>
            </a:r>
            <a:r>
              <a:rPr lang="en-GB"/>
              <a:t> </a:t>
            </a:r>
            <a:r>
              <a:rPr lang="en-GB" err="1"/>
              <a:t>entleeren</a:t>
            </a:r>
            <a:r>
              <a:rPr lang="en-GB"/>
              <a:t> </a:t>
            </a:r>
            <a:r>
              <a:rPr lang="en-GB" err="1"/>
              <a:t>wenn</a:t>
            </a:r>
            <a:r>
              <a:rPr lang="en-GB"/>
              <a:t> die max kapa </a:t>
            </a:r>
            <a:r>
              <a:rPr lang="en-GB" err="1"/>
              <a:t>erreicht</a:t>
            </a:r>
            <a:r>
              <a:rPr lang="en-GB"/>
              <a:t> </a:t>
            </a:r>
            <a:r>
              <a:rPr lang="en-GB" err="1"/>
              <a:t>wird</a:t>
            </a:r>
            <a:r>
              <a:rPr lang="en-GB"/>
              <a:t>. </a:t>
            </a:r>
            <a:r>
              <a:rPr lang="en-GB" err="1"/>
              <a:t>Unnötige</a:t>
            </a:r>
            <a:r>
              <a:rPr lang="en-GB"/>
              <a:t> </a:t>
            </a:r>
            <a:r>
              <a:rPr lang="en-GB" err="1"/>
              <a:t>entleerungen</a:t>
            </a:r>
            <a:r>
              <a:rPr lang="en-GB"/>
              <a:t> </a:t>
            </a:r>
            <a:r>
              <a:rPr lang="en-GB" err="1"/>
              <a:t>vermeiden</a:t>
            </a:r>
            <a:r>
              <a:rPr lang="en-GB"/>
              <a:t>.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a:t>Potential optimizations: </a:t>
            </a:r>
            <a:r>
              <a:rPr lang="en-GB" err="1"/>
              <a:t>Gui</a:t>
            </a:r>
            <a:r>
              <a:rPr lang="en-GB"/>
              <a:t> </a:t>
            </a:r>
            <a:r>
              <a:rPr lang="en-GB" err="1"/>
              <a:t>mehr</a:t>
            </a:r>
            <a:r>
              <a:rPr lang="en-GB"/>
              <a:t> features, Business value: cluster alle container die </a:t>
            </a:r>
            <a:r>
              <a:rPr lang="en-GB" err="1"/>
              <a:t>voll</a:t>
            </a:r>
            <a:r>
              <a:rPr lang="en-GB"/>
              <a:t> </a:t>
            </a:r>
            <a:r>
              <a:rPr lang="en-GB" err="1"/>
              <a:t>werden</a:t>
            </a:r>
            <a:r>
              <a:rPr lang="en-GB"/>
              <a:t> per region/ spare </a:t>
            </a:r>
            <a:r>
              <a:rPr lang="en-GB" err="1"/>
              <a:t>unnötige</a:t>
            </a:r>
            <a:r>
              <a:rPr lang="en-GB"/>
              <a:t> </a:t>
            </a:r>
            <a:r>
              <a:rPr lang="en-GB" err="1"/>
              <a:t>Fahrten</a:t>
            </a:r>
            <a:r>
              <a:rPr lang="en-GB"/>
              <a:t>/ </a:t>
            </a:r>
            <a:r>
              <a:rPr lang="en-GB" err="1"/>
              <a:t>mehrere</a:t>
            </a:r>
            <a:r>
              <a:rPr lang="en-GB"/>
              <a:t> container </a:t>
            </a:r>
            <a:r>
              <a:rPr lang="en-GB" err="1"/>
              <a:t>entleren</a:t>
            </a:r>
            <a:r>
              <a:rPr lang="en-GB"/>
              <a:t> an </a:t>
            </a:r>
            <a:r>
              <a:rPr lang="en-GB" err="1"/>
              <a:t>einem</a:t>
            </a:r>
            <a:r>
              <a:rPr lang="en-GB"/>
              <a:t> tag + </a:t>
            </a:r>
            <a:r>
              <a:rPr lang="en-GB" err="1"/>
              <a:t>Kürzeste</a:t>
            </a:r>
            <a:r>
              <a:rPr lang="en-GB"/>
              <a:t> </a:t>
            </a:r>
            <a:r>
              <a:rPr lang="en-GB" err="1"/>
              <a:t>Wege</a:t>
            </a:r>
            <a:r>
              <a:rPr lang="en-GB"/>
              <a:t> </a:t>
            </a:r>
            <a:r>
              <a:rPr lang="en-GB" err="1"/>
              <a:t>berechnen</a:t>
            </a:r>
            <a:endParaRPr lang="de-DE"/>
          </a:p>
          <a:p>
            <a:endParaRPr lang="de-DE"/>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25</a:t>
            </a:fld>
            <a:endParaRPr lang="en-US"/>
          </a:p>
        </p:txBody>
      </p:sp>
    </p:spTree>
    <p:extLst>
      <p:ext uri="{BB962C8B-B14F-4D97-AF65-F5344CB8AC3E}">
        <p14:creationId xmlns:p14="http://schemas.microsoft.com/office/powerpoint/2010/main" val="24448209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a:t>Business value: </a:t>
            </a:r>
            <a:r>
              <a:rPr lang="en-GB" err="1"/>
              <a:t>nur</a:t>
            </a:r>
            <a:r>
              <a:rPr lang="en-GB"/>
              <a:t> </a:t>
            </a:r>
            <a:r>
              <a:rPr lang="en-GB" err="1"/>
              <a:t>entleeren</a:t>
            </a:r>
            <a:r>
              <a:rPr lang="en-GB"/>
              <a:t> </a:t>
            </a:r>
            <a:r>
              <a:rPr lang="en-GB" err="1"/>
              <a:t>wenn</a:t>
            </a:r>
            <a:r>
              <a:rPr lang="en-GB"/>
              <a:t> die max kapa </a:t>
            </a:r>
            <a:r>
              <a:rPr lang="en-GB" err="1"/>
              <a:t>erreicht</a:t>
            </a:r>
            <a:r>
              <a:rPr lang="en-GB"/>
              <a:t> </a:t>
            </a:r>
            <a:r>
              <a:rPr lang="en-GB" err="1"/>
              <a:t>wird</a:t>
            </a:r>
            <a:r>
              <a:rPr lang="en-GB"/>
              <a:t>. </a:t>
            </a:r>
            <a:r>
              <a:rPr lang="en-GB" err="1"/>
              <a:t>Unnötige</a:t>
            </a:r>
            <a:r>
              <a:rPr lang="en-GB"/>
              <a:t> </a:t>
            </a:r>
            <a:r>
              <a:rPr lang="en-GB" err="1"/>
              <a:t>entleerungen</a:t>
            </a:r>
            <a:r>
              <a:rPr lang="en-GB"/>
              <a:t> </a:t>
            </a:r>
            <a:r>
              <a:rPr lang="en-GB" err="1"/>
              <a:t>vermeiden</a:t>
            </a:r>
            <a:r>
              <a:rPr lang="en-GB"/>
              <a:t>. </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a:t>Potential optimizations: </a:t>
            </a:r>
            <a:r>
              <a:rPr lang="en-GB" err="1"/>
              <a:t>Gui</a:t>
            </a:r>
            <a:r>
              <a:rPr lang="en-GB"/>
              <a:t> </a:t>
            </a:r>
            <a:r>
              <a:rPr lang="en-GB" err="1"/>
              <a:t>mehr</a:t>
            </a:r>
            <a:r>
              <a:rPr lang="en-GB"/>
              <a:t> features, Business value: cluster alle container die </a:t>
            </a:r>
            <a:r>
              <a:rPr lang="en-GB" err="1"/>
              <a:t>voll</a:t>
            </a:r>
            <a:r>
              <a:rPr lang="en-GB"/>
              <a:t> </a:t>
            </a:r>
            <a:r>
              <a:rPr lang="en-GB" err="1"/>
              <a:t>werden</a:t>
            </a:r>
            <a:r>
              <a:rPr lang="en-GB"/>
              <a:t> per region/ spare </a:t>
            </a:r>
            <a:r>
              <a:rPr lang="en-GB" err="1"/>
              <a:t>unnötige</a:t>
            </a:r>
            <a:r>
              <a:rPr lang="en-GB"/>
              <a:t> </a:t>
            </a:r>
            <a:r>
              <a:rPr lang="en-GB" err="1"/>
              <a:t>Fahrten</a:t>
            </a:r>
            <a:r>
              <a:rPr lang="en-GB"/>
              <a:t>/ </a:t>
            </a:r>
            <a:r>
              <a:rPr lang="en-GB" err="1"/>
              <a:t>mehrere</a:t>
            </a:r>
            <a:r>
              <a:rPr lang="en-GB"/>
              <a:t> container </a:t>
            </a:r>
            <a:r>
              <a:rPr lang="en-GB" err="1"/>
              <a:t>entleren</a:t>
            </a:r>
            <a:r>
              <a:rPr lang="en-GB"/>
              <a:t> an </a:t>
            </a:r>
            <a:r>
              <a:rPr lang="en-GB" err="1"/>
              <a:t>einem</a:t>
            </a:r>
            <a:r>
              <a:rPr lang="en-GB"/>
              <a:t> tag + </a:t>
            </a:r>
            <a:r>
              <a:rPr lang="en-GB" err="1"/>
              <a:t>Kürzeste</a:t>
            </a:r>
            <a:r>
              <a:rPr lang="en-GB"/>
              <a:t> </a:t>
            </a:r>
            <a:r>
              <a:rPr lang="en-GB" err="1"/>
              <a:t>Wege</a:t>
            </a:r>
            <a:r>
              <a:rPr lang="en-GB"/>
              <a:t> </a:t>
            </a:r>
            <a:r>
              <a:rPr lang="en-GB" err="1"/>
              <a:t>berechnen</a:t>
            </a:r>
            <a:endParaRPr lang="de-DE"/>
          </a:p>
          <a:p>
            <a:pPr>
              <a:buNone/>
            </a:pPr>
            <a:endParaRPr lang="en-US"/>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26</a:t>
            </a:fld>
            <a:endParaRPr lang="en-US"/>
          </a:p>
        </p:txBody>
      </p:sp>
    </p:spTree>
    <p:extLst>
      <p:ext uri="{BB962C8B-B14F-4D97-AF65-F5344CB8AC3E}">
        <p14:creationId xmlns:p14="http://schemas.microsoft.com/office/powerpoint/2010/main" val="5838793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27</a:t>
            </a:fld>
            <a:endParaRPr lang="en-US"/>
          </a:p>
        </p:txBody>
      </p:sp>
    </p:spTree>
    <p:extLst>
      <p:ext uri="{BB962C8B-B14F-4D97-AF65-F5344CB8AC3E}">
        <p14:creationId xmlns:p14="http://schemas.microsoft.com/office/powerpoint/2010/main" val="3472348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510577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13109186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3948351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6</a:t>
            </a:fld>
            <a:endParaRPr lang="en-US"/>
          </a:p>
        </p:txBody>
      </p:sp>
    </p:spTree>
    <p:extLst>
      <p:ext uri="{BB962C8B-B14F-4D97-AF65-F5344CB8AC3E}">
        <p14:creationId xmlns:p14="http://schemas.microsoft.com/office/powerpoint/2010/main" val="966039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a:t>First Thoughts: search for correlation between features. </a:t>
            </a:r>
          </a:p>
          <a:p>
            <a:r>
              <a:rPr lang="en-GB" err="1"/>
              <a:t>Besseres</a:t>
            </a:r>
            <a:r>
              <a:rPr lang="en-GB"/>
              <a:t> </a:t>
            </a:r>
            <a:r>
              <a:rPr lang="en-GB" err="1"/>
              <a:t>Verständnis</a:t>
            </a:r>
            <a:r>
              <a:rPr lang="en-GB"/>
              <a:t> </a:t>
            </a:r>
            <a:r>
              <a:rPr lang="en-GB" err="1"/>
              <a:t>zu</a:t>
            </a:r>
            <a:r>
              <a:rPr lang="en-GB"/>
              <a:t> </a:t>
            </a:r>
            <a:r>
              <a:rPr lang="en-GB" err="1"/>
              <a:t>daten</a:t>
            </a:r>
            <a:r>
              <a:rPr lang="en-GB"/>
              <a:t> </a:t>
            </a:r>
            <a:r>
              <a:rPr lang="en-GB" err="1"/>
              <a:t>zu</a:t>
            </a:r>
            <a:r>
              <a:rPr lang="en-GB"/>
              <a:t> </a:t>
            </a:r>
            <a:r>
              <a:rPr lang="en-GB" err="1"/>
              <a:t>bekommen</a:t>
            </a:r>
            <a:r>
              <a:rPr lang="en-GB"/>
              <a:t>. Was </a:t>
            </a:r>
            <a:r>
              <a:rPr lang="en-GB" err="1"/>
              <a:t>haben</a:t>
            </a:r>
            <a:r>
              <a:rPr lang="en-GB"/>
              <a:t> </a:t>
            </a:r>
            <a:r>
              <a:rPr lang="en-GB" err="1"/>
              <a:t>wir</a:t>
            </a:r>
            <a:r>
              <a:rPr lang="en-GB"/>
              <a:t>, was </a:t>
            </a:r>
            <a:r>
              <a:rPr lang="en-GB" err="1"/>
              <a:t>brauchen</a:t>
            </a:r>
            <a:r>
              <a:rPr lang="en-GB"/>
              <a:t> </a:t>
            </a:r>
            <a:r>
              <a:rPr lang="en-GB" err="1"/>
              <a:t>wir</a:t>
            </a:r>
            <a:r>
              <a:rPr lang="en-GB"/>
              <a:t> </a:t>
            </a:r>
            <a:r>
              <a:rPr lang="en-GB" err="1"/>
              <a:t>noch</a:t>
            </a:r>
            <a:r>
              <a:rPr lang="en-GB"/>
              <a:t> (extern)</a:t>
            </a:r>
          </a:p>
          <a:p>
            <a:r>
              <a:rPr lang="en-GB"/>
              <a:t>Visualize all: how many data we have, all container</a:t>
            </a:r>
          </a:p>
          <a:p>
            <a:r>
              <a:rPr lang="en-GB"/>
              <a:t>Es </a:t>
            </a:r>
            <a:r>
              <a:rPr lang="en-GB" err="1"/>
              <a:t>gibt</a:t>
            </a:r>
            <a:r>
              <a:rPr lang="en-GB"/>
              <a:t> Container die </a:t>
            </a:r>
            <a:r>
              <a:rPr lang="en-GB" err="1"/>
              <a:t>nicht</a:t>
            </a:r>
            <a:r>
              <a:rPr lang="en-GB"/>
              <a:t> </a:t>
            </a:r>
            <a:r>
              <a:rPr lang="en-GB" err="1"/>
              <a:t>viele</a:t>
            </a:r>
            <a:r>
              <a:rPr lang="en-GB"/>
              <a:t> </a:t>
            </a:r>
            <a:r>
              <a:rPr lang="en-GB" err="1"/>
              <a:t>Daten</a:t>
            </a:r>
            <a:r>
              <a:rPr lang="en-GB"/>
              <a:t> </a:t>
            </a:r>
            <a:r>
              <a:rPr lang="en-GB" err="1"/>
              <a:t>hatten</a:t>
            </a:r>
            <a:r>
              <a:rPr lang="en-GB"/>
              <a:t> </a:t>
            </a:r>
            <a:endParaRPr lang="de-DE"/>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36633623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Gutes Muster links </a:t>
            </a:r>
            <a:r>
              <a:rPr lang="de-DE" err="1"/>
              <a:t>vs</a:t>
            </a:r>
            <a:r>
              <a:rPr lang="de-DE"/>
              <a:t> schlechtes Muster rechts</a:t>
            </a:r>
          </a:p>
          <a:p>
            <a:r>
              <a:rPr lang="de-DE"/>
              <a:t>Noch ein paar </a:t>
            </a:r>
            <a:r>
              <a:rPr lang="de-DE" err="1"/>
              <a:t>bilder</a:t>
            </a:r>
            <a:r>
              <a:rPr lang="de-DE"/>
              <a:t> zu wo es nicht </a:t>
            </a:r>
            <a:r>
              <a:rPr lang="de-DE" err="1"/>
              <a:t>cleaned</a:t>
            </a:r>
            <a:r>
              <a:rPr lang="de-DE"/>
              <a:t> war, </a:t>
            </a:r>
            <a:r>
              <a:rPr lang="de-DE" err="1"/>
              <a:t>uncleaned</a:t>
            </a:r>
            <a:r>
              <a:rPr lang="de-DE"/>
              <a:t> </a:t>
            </a:r>
            <a:r>
              <a:rPr lang="de-DE" err="1"/>
              <a:t>data</a:t>
            </a:r>
            <a:r>
              <a:rPr lang="de-DE"/>
              <a:t>, Notwendigkeit von Data </a:t>
            </a:r>
            <a:r>
              <a:rPr lang="de-DE" err="1"/>
              <a:t>cleaning</a:t>
            </a:r>
            <a:r>
              <a:rPr lang="de-DE"/>
              <a:t>: </a:t>
            </a:r>
            <a:r>
              <a:rPr lang="de-DE" err="1"/>
              <a:t>Outliner</a:t>
            </a:r>
            <a:r>
              <a:rPr lang="de-DE"/>
              <a:t> …</a:t>
            </a:r>
          </a:p>
        </p:txBody>
      </p:sp>
      <p:sp>
        <p:nvSpPr>
          <p:cNvPr id="4" name="Foliennummernplatzhalter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6004223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9</a:t>
            </a:fld>
            <a:endParaRPr lang="en-US"/>
          </a:p>
        </p:txBody>
      </p:sp>
    </p:spTree>
    <p:extLst>
      <p:ext uri="{BB962C8B-B14F-4D97-AF65-F5344CB8AC3E}">
        <p14:creationId xmlns:p14="http://schemas.microsoft.com/office/powerpoint/2010/main" val="37578711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jpeg"/><Relationship Id="rId10" Type="http://schemas.openxmlformats.org/officeDocument/2006/relationships/image" Target="../media/image6.jpe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1.png"/><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jpeg"/><Relationship Id="rId4" Type="http://schemas.openxmlformats.org/officeDocument/2006/relationships/slideMaster" Target="../slideMasters/slideMaster1.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12.jpeg"/><Relationship Id="rId9" Type="http://schemas.microsoft.com/office/2007/relationships/hdphoto" Target="../media/hdphoto1.wdp"/></Relationships>
</file>

<file path=ppt/slideLayouts/_rels/slideLayout2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7.jpeg"/></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4.xml"/><Relationship Id="rId7" Type="http://schemas.openxmlformats.org/officeDocument/2006/relationships/image" Target="../media/image14.jpeg"/><Relationship Id="rId2" Type="http://schemas.openxmlformats.org/officeDocument/2006/relationships/tags" Target="../tags/tag33.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8.png"/><Relationship Id="rId2" Type="http://schemas.openxmlformats.org/officeDocument/2006/relationships/tags" Target="../tags/tag44.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10.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5.jpeg"/><Relationship Id="rId2" Type="http://schemas.openxmlformats.org/officeDocument/2006/relationships/tags" Target="../tags/tag61.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4.png"/><Relationship Id="rId2" Type="http://schemas.openxmlformats.org/officeDocument/2006/relationships/tags" Target="../tags/tag6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4.png"/><Relationship Id="rId2" Type="http://schemas.openxmlformats.org/officeDocument/2006/relationships/tags" Target="../tags/tag74.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20.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2499" name="Picture 339" descr="avocado, tomatoes, eggs, mushrooms, spring onions, and leaves">
            <a:extLst>
              <a:ext uri="{FF2B5EF4-FFF2-40B4-BE49-F238E27FC236}">
                <a16:creationId xmlns:a16="http://schemas.microsoft.com/office/drawing/2014/main" id="{EC407F0A-4C1E-429C-806E-8A5DF5A00912}"/>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4818" t="35306" r="3147" b="25200"/>
          <a:stretch/>
        </p:blipFill>
        <p:spPr bwMode="auto">
          <a:xfrm>
            <a:off x="0" y="0"/>
            <a:ext cx="12191208" cy="523150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7198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solidFill>
            <a:srgbClr val="009682">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92484" name="Picture 324" descr="Welcome to GROW - GROW by PionierGarage">
            <a:extLst>
              <a:ext uri="{FF2B5EF4-FFF2-40B4-BE49-F238E27FC236}">
                <a16:creationId xmlns:a16="http://schemas.microsoft.com/office/drawing/2014/main" id="{66507145-388F-4DB0-92AB-D390A573BD2D}"/>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018355" y="930543"/>
            <a:ext cx="1297311" cy="930680"/>
          </a:xfrm>
          <a:prstGeom prst="rect">
            <a:avLst/>
          </a:prstGeom>
          <a:noFill/>
          <a:extLst>
            <a:ext uri="{909E8E84-426E-40DD-AFC4-6F175D3DCCD1}">
              <a14:hiddenFill xmlns:a14="http://schemas.microsoft.com/office/drawing/2010/main">
                <a:solidFill>
                  <a:srgbClr val="FFFFFF"/>
                </a:solidFill>
              </a14:hiddenFill>
            </a:ext>
          </a:extLst>
        </p:spPr>
      </p:pic>
      <p:pic>
        <p:nvPicPr>
          <p:cNvPr id="92495" name="Picture 335" descr="KIT Logo - Karlsruhe Institute of Technology | Karlsruhe institute of  technology, Karlsruhe, Massachusetts institute of technology">
            <a:extLst>
              <a:ext uri="{FF2B5EF4-FFF2-40B4-BE49-F238E27FC236}">
                <a16:creationId xmlns:a16="http://schemas.microsoft.com/office/drawing/2014/main" id="{7B996192-590A-4091-A6D4-0241CFA4190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9785092" y="5516026"/>
            <a:ext cx="1377160" cy="6610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00968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00968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00968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00968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accent3"/>
                </a:solidFill>
                <a:latin typeface="+mj-lt"/>
                <a:sym typeface="Trebuchet MS" panose="020B0603020202020204" pitchFamily="34" charset="0"/>
              </a:defRPr>
            </a:lvl1pPr>
          </a:lstStyle>
          <a:p>
            <a:r>
              <a:rPr lang="en-US">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968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00968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5"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968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solidFill>
            <a:srgbClr val="0096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rgbClr val="00968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9682"/>
                </a:solidFill>
                <a:latin typeface="+mj-lt"/>
                <a:sym typeface="Trebuchet MS" panose="020B0603020202020204" pitchFamily="34" charset="0"/>
              </a:defRPr>
            </a:lvl1pPr>
          </a:lstStyle>
          <a:p>
            <a:pPr lvl="0"/>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solidFill>
            <a:srgbClr val="0096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rgbClr val="00968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9682"/>
                </a:solidFill>
                <a:latin typeface="+mj-lt"/>
                <a:sym typeface="Trebuchet MS" panose="020B0603020202020204" pitchFamily="34" charset="0"/>
              </a:defRPr>
            </a:lvl1pPr>
          </a:lstStyle>
          <a:p>
            <a:pPr lvl="0"/>
            <a:r>
              <a:rPr lang="en-US"/>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2499" name="Picture 339">
            <a:extLst>
              <a:ext uri="{FF2B5EF4-FFF2-40B4-BE49-F238E27FC236}">
                <a16:creationId xmlns:a16="http://schemas.microsoft.com/office/drawing/2014/main" id="{EC407F0A-4C1E-429C-806E-8A5DF5A00912}"/>
              </a:ext>
            </a:extLst>
          </p:cNvPr>
          <p:cNvPicPr>
            <a:picLocks noChangeAspect="1" noChangeArrowheads="1"/>
          </p:cNvPicPr>
          <p:nvPr userDrawn="1"/>
        </p:nvPicPr>
        <p:blipFill>
          <a:blip r:embed="rId5"/>
          <a:srcRect t="11856" b="11856"/>
          <a:stretch/>
        </p:blipFill>
        <p:spPr bwMode="auto">
          <a:xfrm>
            <a:off x="0" y="0"/>
            <a:ext cx="12191208" cy="523150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7198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solidFill>
            <a:srgbClr val="009682">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92495" name="Picture 335" descr="KIT Logo - Karlsruhe Institute of Technology | Karlsruhe institute of  technology, Karlsruhe, Massachusetts institute of technology">
            <a:extLst>
              <a:ext uri="{FF2B5EF4-FFF2-40B4-BE49-F238E27FC236}">
                <a16:creationId xmlns:a16="http://schemas.microsoft.com/office/drawing/2014/main" id="{7B996192-590A-4091-A6D4-0241CFA4190F}"/>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9785092" y="5516026"/>
            <a:ext cx="1377160" cy="6610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00968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009682"/>
        </a:soli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7"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968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009682"/>
        </a:soli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Picture 8" descr="A bunch of food on a table&#10;&#10;Description automatically generated">
            <a:extLst>
              <a:ext uri="{FF2B5EF4-FFF2-40B4-BE49-F238E27FC236}">
                <a16:creationId xmlns:a16="http://schemas.microsoft.com/office/drawing/2014/main" id="{4934B298-94A4-4A0A-B0B4-A8FA28E95354}"/>
              </a:ext>
            </a:extLst>
          </p:cNvPr>
          <p:cNvPicPr>
            <a:picLocks noChangeAspect="1"/>
          </p:cNvPicPr>
          <p:nvPr userDrawn="1"/>
        </p:nvPicPr>
        <p:blipFill rotWithShape="1">
          <a:blip r:embed="rId4"/>
          <a:srcRect t="15633"/>
          <a:stretch/>
        </p:blipFill>
        <p:spPr>
          <a:xfrm>
            <a:off x="-1" y="0"/>
            <a:ext cx="12192001" cy="6858000"/>
          </a:xfrm>
          <a:prstGeom prst="rect">
            <a:avLst/>
          </a:prstGeom>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03928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3"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black">
          <a:xfrm>
            <a:off x="630936" y="626200"/>
            <a:ext cx="8125200" cy="5529600"/>
          </a:xfrm>
          <a:prstGeom prst="rect">
            <a:avLst/>
          </a:prstGeom>
          <a:solidFill>
            <a:srgbClr val="0096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pic>
        <p:nvPicPr>
          <p:cNvPr id="3" name="Picture 324" descr="Welcome to GROW - GROW by PionierGarage">
            <a:extLst>
              <a:ext uri="{FF2B5EF4-FFF2-40B4-BE49-F238E27FC236}">
                <a16:creationId xmlns:a16="http://schemas.microsoft.com/office/drawing/2014/main" id="{20B49E74-B2D2-4278-8F83-3F3854196F9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18355" y="930543"/>
            <a:ext cx="1297311" cy="9306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Merchandising Shop des KIT">
            <a:extLst>
              <a:ext uri="{FF2B5EF4-FFF2-40B4-BE49-F238E27FC236}">
                <a16:creationId xmlns:a16="http://schemas.microsoft.com/office/drawing/2014/main" id="{792192F9-52EA-42D8-A7EF-7A5A4A1C845B}"/>
              </a:ext>
            </a:extLst>
          </p:cNvPr>
          <p:cNvPicPr>
            <a:picLocks noChangeAspect="1" noChangeArrowheads="1"/>
          </p:cNvPicPr>
          <p:nvPr userDrawn="1"/>
        </p:nvPicPr>
        <p:blipFill rotWithShape="1">
          <a:blip r:embed="rId8">
            <a:extLst>
              <a:ext uri="{BEBA8EAE-BF5A-486C-A8C5-ECC9F3942E4B}">
                <a14:imgProps xmlns:a14="http://schemas.microsoft.com/office/drawing/2010/main">
                  <a14:imgLayer r:embed="rId9">
                    <a14:imgEffect>
                      <a14:backgroundRemoval t="22476" b="77199" l="9145" r="49619">
                        <a14:foregroundMark x1="10500" y1="49186" x2="18101" y2="63209"/>
                        <a14:foregroundMark x1="20132" y1="69628" x2="20322" y2="70358"/>
                        <a14:foregroundMark x1="9229" y1="73941" x2="19306" y2="75570"/>
                        <a14:foregroundMark x1="31075" y1="72964" x2="26503" y2="57980"/>
                        <a14:foregroundMark x1="26503" y1="57980" x2="27942" y2="41042"/>
                        <a14:foregroundMark x1="27942" y1="41042" x2="31160" y2="28013"/>
                        <a14:foregroundMark x1="31160" y1="28013" x2="31245" y2="27362"/>
                        <a14:foregroundMark x1="37680" y1="28013" x2="38442" y2="70684"/>
                        <a14:foregroundMark x1="46232" y1="27036" x2="45131" y2="70033"/>
                        <a14:foregroundMark x1="44623" y1="24430" x2="49026" y2="25407"/>
                        <a14:foregroundMark x1="49026" y1="25407" x2="49619" y2="25081"/>
                        <a14:foregroundMark x1="16342" y1="32248" x2="18967" y2="45603"/>
                        <a14:foregroundMark x1="18967" y1="45603" x2="19898" y2="57980"/>
                        <a14:foregroundMark x1="23168" y1="56137" x2="23201" y2="57003"/>
                        <a14:foregroundMark x1="22439" y1="37134" x2="23105" y2="54498"/>
                        <a14:foregroundMark x1="22947" y1="71010" x2="23116" y2="75570"/>
                        <a14:foregroundMark x1="23116" y1="73290" x2="23116" y2="74919"/>
                        <a14:backgroundMark x1="18628" y1="63518" x2="19729" y2="66124"/>
                        <a14:backgroundMark x1="20068" y1="69055" x2="17951" y2="61889"/>
                        <a14:backgroundMark x1="20491" y1="70033" x2="20152" y2="69055"/>
                        <a14:backgroundMark x1="23285" y1="58632" x2="23455" y2="51466"/>
                        <a14:backgroundMark x1="23116" y1="54397" x2="23539" y2="52769"/>
                        <a14:backgroundMark x1="22862" y1="76221" x2="22777" y2="72638"/>
                      </a14:backgroundRemoval>
                    </a14:imgEffect>
                  </a14:imgLayer>
                </a14:imgProps>
              </a:ext>
              <a:ext uri="{28A0092B-C50C-407E-A947-70E740481C1C}">
                <a14:useLocalDpi xmlns:a14="http://schemas.microsoft.com/office/drawing/2010/main" val="0"/>
              </a:ext>
            </a:extLst>
          </a:blip>
          <a:srcRect l="5925" t="16124" r="48008" b="15776"/>
          <a:stretch/>
        </p:blipFill>
        <p:spPr bwMode="auto">
          <a:xfrm>
            <a:off x="6449146" y="1114215"/>
            <a:ext cx="1465949" cy="5633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934B298-94A4-4A0A-B0B4-A8FA28E95354}"/>
              </a:ext>
            </a:extLst>
          </p:cNvPr>
          <p:cNvPicPr>
            <a:picLocks noChangeAspect="1"/>
          </p:cNvPicPr>
          <p:nvPr userDrawn="1"/>
        </p:nvPicPr>
        <p:blipFill>
          <a:blip r:embed="rId4"/>
          <a:srcRect/>
          <a:stretch/>
        </p:blipFill>
        <p:spPr>
          <a:xfrm>
            <a:off x="0" y="0"/>
            <a:ext cx="12192000" cy="5389812"/>
          </a:xfrm>
          <a:prstGeom prst="rect">
            <a:avLst/>
          </a:prstGeom>
          <a:gradFill>
            <a:gsLst>
              <a:gs pos="0">
                <a:schemeClr val="bg2"/>
              </a:gs>
              <a:gs pos="61000">
                <a:srgbClr val="911DE7">
                  <a:alpha val="52000"/>
                </a:srgbClr>
              </a:gs>
              <a:gs pos="100000">
                <a:srgbClr val="7030A0"/>
              </a:gs>
            </a:gsLst>
            <a:lin ang="5400000" scaled="1"/>
          </a:gradFill>
          <a:effectLst>
            <a:outerShdw blurRad="50800" dist="38100" dir="8100000" sx="101000" sy="101000" algn="tr" rotWithShape="0">
              <a:prstClr val="black">
                <a:alpha val="38000"/>
              </a:prstClr>
            </a:outerShdw>
          </a:effec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03928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7"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black">
          <a:xfrm>
            <a:off x="630936" y="626200"/>
            <a:ext cx="8125200" cy="5529600"/>
          </a:xfrm>
          <a:prstGeom prst="rect">
            <a:avLst/>
          </a:prstGeom>
          <a:solidFill>
            <a:srgbClr val="009682">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pic>
        <p:nvPicPr>
          <p:cNvPr id="12" name="Picture 6" descr="Merchandising Shop des KIT">
            <a:extLst>
              <a:ext uri="{FF2B5EF4-FFF2-40B4-BE49-F238E27FC236}">
                <a16:creationId xmlns:a16="http://schemas.microsoft.com/office/drawing/2014/main" id="{792192F9-52EA-42D8-A7EF-7A5A4A1C845B}"/>
              </a:ext>
            </a:extLst>
          </p:cNvPr>
          <p:cNvPicPr>
            <a:picLocks noChangeAspect="1" noChangeArrowheads="1"/>
          </p:cNvPicPr>
          <p:nvPr userDrawn="1"/>
        </p:nvPicPr>
        <p:blipFill rotWithShape="1">
          <a:blip r:embed="rId7">
            <a:extLst>
              <a:ext uri="{BEBA8EAE-BF5A-486C-A8C5-ECC9F3942E4B}">
                <a14:imgProps xmlns:a14="http://schemas.microsoft.com/office/drawing/2010/main">
                  <a14:imgLayer r:embed="rId8">
                    <a14:imgEffect>
                      <a14:backgroundRemoval t="22476" b="77199" l="9145" r="49619">
                        <a14:foregroundMark x1="10500" y1="49186" x2="18101" y2="63209"/>
                        <a14:foregroundMark x1="20132" y1="69628" x2="20322" y2="70358"/>
                        <a14:foregroundMark x1="9229" y1="73941" x2="19306" y2="75570"/>
                        <a14:foregroundMark x1="31075" y1="72964" x2="26503" y2="57980"/>
                        <a14:foregroundMark x1="26503" y1="57980" x2="27942" y2="41042"/>
                        <a14:foregroundMark x1="27942" y1="41042" x2="31160" y2="28013"/>
                        <a14:foregroundMark x1="31160" y1="28013" x2="31245" y2="27362"/>
                        <a14:foregroundMark x1="37680" y1="28013" x2="38442" y2="70684"/>
                        <a14:foregroundMark x1="46232" y1="27036" x2="45131" y2="70033"/>
                        <a14:foregroundMark x1="44623" y1="24430" x2="49026" y2="25407"/>
                        <a14:foregroundMark x1="49026" y1="25407" x2="49619" y2="25081"/>
                        <a14:foregroundMark x1="16342" y1="32248" x2="18967" y2="45603"/>
                        <a14:foregroundMark x1="18967" y1="45603" x2="19898" y2="57980"/>
                        <a14:foregroundMark x1="23168" y1="56137" x2="23201" y2="57003"/>
                        <a14:foregroundMark x1="22439" y1="37134" x2="23105" y2="54498"/>
                        <a14:foregroundMark x1="22947" y1="71010" x2="23116" y2="75570"/>
                        <a14:foregroundMark x1="23116" y1="73290" x2="23116" y2="74919"/>
                        <a14:backgroundMark x1="18628" y1="63518" x2="19729" y2="66124"/>
                        <a14:backgroundMark x1="20068" y1="69055" x2="17951" y2="61889"/>
                        <a14:backgroundMark x1="20491" y1="70033" x2="20152" y2="69055"/>
                        <a14:backgroundMark x1="23285" y1="58632" x2="23455" y2="51466"/>
                        <a14:backgroundMark x1="23116" y1="54397" x2="23539" y2="52769"/>
                        <a14:backgroundMark x1="22862" y1="76221" x2="22777" y2="72638"/>
                      </a14:backgroundRemoval>
                    </a14:imgEffect>
                  </a14:imgLayer>
                </a14:imgProps>
              </a:ext>
              <a:ext uri="{28A0092B-C50C-407E-A947-70E740481C1C}">
                <a14:useLocalDpi xmlns:a14="http://schemas.microsoft.com/office/drawing/2010/main" val="0"/>
              </a:ext>
            </a:extLst>
          </a:blip>
          <a:srcRect l="5925" t="16124" r="48008" b="15776"/>
          <a:stretch/>
        </p:blipFill>
        <p:spPr bwMode="auto">
          <a:xfrm>
            <a:off x="6449146" y="1114215"/>
            <a:ext cx="1465949" cy="5633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9682"/>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74584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b="28371"/>
          <a:stretch/>
        </p:blipFill>
        <p:spPr>
          <a:xfrm>
            <a:off x="-1" y="-25400"/>
            <a:ext cx="12211665" cy="5248276"/>
          </a:xfrm>
          <a:prstGeom prst="rect">
            <a:avLst/>
          </a:prstGeom>
        </p:spPr>
      </p:pic>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solidFill>
            <a:srgbClr val="0096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968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968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968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968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00968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00968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968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00968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009682"/>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009682"/>
        </a:soli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00968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00968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00968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3"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rgbClr val="009682"/>
                </a:solidFill>
                <a:latin typeface="+mj-lt"/>
                <a:sym typeface="Trebuchet MS" panose="020B0603020202020204" pitchFamily="34" charset="0"/>
              </a:defRPr>
            </a:lvl1pPr>
          </a:lstStyle>
          <a:p>
            <a:r>
              <a:rPr lang="en-US">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968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009682"/>
        </a:soli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968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solidFill>
            <a:srgbClr val="0096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009682"/>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rgbClr val="0096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00968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00968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9682"/>
                </a:solidFill>
                <a:latin typeface="+mj-lt"/>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009682"/>
        </a:soli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968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009682"/>
        </a:soli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00968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009682"/>
        </a:soli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solidFill>
                  <a:srgbClr val="009682"/>
                </a:soli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968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7"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solidFill>
            <a:srgbClr val="0096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00968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00968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00968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8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00968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00968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00968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324_Mindfulness_Toolbox_Vdraft.pptx</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00968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009682"/>
                </a:solidFill>
                <a:latin typeface="Trebuchet MS" panose="020B0603020202020204" pitchFamily="34" charset="0"/>
                <a:sym typeface="Trebuchet MS" panose="020B0603020202020204" pitchFamily="34" charset="0"/>
              </a:rPr>
              <a:t>Table of contents</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8B26B-079A-42A0-A9E0-73D8E8B60BEE}"/>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2935D32F-7B48-401C-9890-525EFA8ACE3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4B1526-F368-471C-9BA6-AB364C85DDC5}"/>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91994A8-1453-4BFA-9308-DD617F9FD58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63974256-C115-467B-8E37-CA2B6D243357}"/>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1BFC247A-957C-4360-B794-929A8622AB64}"/>
              </a:ext>
            </a:extLst>
          </p:cNvPr>
          <p:cNvSpPr>
            <a:spLocks noGrp="1"/>
          </p:cNvSpPr>
          <p:nvPr>
            <p:ph type="dt" sz="half" idx="10"/>
          </p:nvPr>
        </p:nvSpPr>
        <p:spPr/>
        <p:txBody>
          <a:bodyPr/>
          <a:lstStyle/>
          <a:p>
            <a:fld id="{37856384-A632-4D7C-A47F-48FD10C03744}" type="datetimeFigureOut">
              <a:rPr lang="de-DE" smtClean="0"/>
              <a:t>22.07.2021</a:t>
            </a:fld>
            <a:endParaRPr lang="de-DE"/>
          </a:p>
        </p:txBody>
      </p:sp>
      <p:sp>
        <p:nvSpPr>
          <p:cNvPr id="8" name="Fußzeilenplatzhalter 7">
            <a:extLst>
              <a:ext uri="{FF2B5EF4-FFF2-40B4-BE49-F238E27FC236}">
                <a16:creationId xmlns:a16="http://schemas.microsoft.com/office/drawing/2014/main" id="{3A65A2AB-805A-45FD-902F-4FF0370E09EE}"/>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E8A36C84-542D-4E24-826F-BA712D640743}"/>
              </a:ext>
            </a:extLst>
          </p:cNvPr>
          <p:cNvSpPr>
            <a:spLocks noGrp="1"/>
          </p:cNvSpPr>
          <p:nvPr>
            <p:ph type="sldNum" sz="quarter" idx="12"/>
          </p:nvPr>
        </p:nvSpPr>
        <p:spPr/>
        <p:txBody>
          <a:bodyPr/>
          <a:lstStyle/>
          <a:p>
            <a:fld id="{0F4A2AD7-D653-42CA-A636-7375D786C863}" type="slidenum">
              <a:rPr lang="de-DE" smtClean="0"/>
              <a:t>‹#›</a:t>
            </a:fld>
            <a:endParaRPr lang="de-DE"/>
          </a:p>
        </p:txBody>
      </p:sp>
    </p:spTree>
    <p:extLst>
      <p:ext uri="{BB962C8B-B14F-4D97-AF65-F5344CB8AC3E}">
        <p14:creationId xmlns:p14="http://schemas.microsoft.com/office/powerpoint/2010/main" val="34223040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009682"/>
        </a:soli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009682"/>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9682"/>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00968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9682"/>
                </a:solidFill>
                <a:latin typeface="+mj-lt"/>
                <a:sym typeface="Trebuchet MS" panose="020B0603020202020204" pitchFamily="34" charset="0"/>
              </a:defRPr>
            </a:lvl1pPr>
          </a:lstStyle>
          <a:p>
            <a:pPr lvl="0"/>
            <a:r>
              <a:rPr lang="en-US"/>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00324_Mindfulness_Toolbox_Vdraft.pptx</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85" r:id="rId1"/>
    <p:sldLayoutId id="2147485115" r:id="rId2"/>
    <p:sldLayoutId id="2147485086" r:id="rId3"/>
    <p:sldLayoutId id="2147485183" r:id="rId4"/>
    <p:sldLayoutId id="2147485158" r:id="rId5"/>
    <p:sldLayoutId id="2147485113" r:id="rId6"/>
    <p:sldLayoutId id="2147485114" r:id="rId7"/>
    <p:sldLayoutId id="2147485154" r:id="rId8"/>
    <p:sldLayoutId id="2147485162" r:id="rId9"/>
    <p:sldLayoutId id="2147485149" r:id="rId10"/>
    <p:sldLayoutId id="2147485087" r:id="rId11"/>
    <p:sldLayoutId id="2147485112" r:id="rId12"/>
    <p:sldLayoutId id="2147485155" r:id="rId13"/>
    <p:sldLayoutId id="2147485164" r:id="rId14"/>
    <p:sldLayoutId id="2147485109" r:id="rId15"/>
    <p:sldLayoutId id="2147485165" r:id="rId16"/>
    <p:sldLayoutId id="2147485110" r:id="rId17"/>
    <p:sldLayoutId id="2147485166" r:id="rId18"/>
    <p:sldLayoutId id="2147485156" r:id="rId19"/>
    <p:sldLayoutId id="2147485167" r:id="rId20"/>
    <p:sldLayoutId id="2147485108" r:id="rId21"/>
    <p:sldLayoutId id="2147485107" r:id="rId22"/>
    <p:sldLayoutId id="2147485106" r:id="rId23"/>
    <p:sldLayoutId id="2147485090" r:id="rId24"/>
    <p:sldLayoutId id="2147485091" r:id="rId25"/>
    <p:sldLayoutId id="2147485092" r:id="rId26"/>
    <p:sldLayoutId id="2147485186" r:id="rId27"/>
    <p:sldLayoutId id="2147485116" r:id="rId28"/>
    <p:sldLayoutId id="2147485161" r:id="rId29"/>
    <p:sldLayoutId id="2147485159" r:id="rId30"/>
    <p:sldLayoutId id="2147485119" r:id="rId31"/>
    <p:sldLayoutId id="2147485184" r:id="rId32"/>
    <p:sldLayoutId id="2147485137" r:id="rId33"/>
    <p:sldLayoutId id="2147485120" r:id="rId34"/>
    <p:sldLayoutId id="2147485121" r:id="rId35"/>
    <p:sldLayoutId id="2147485141" r:id="rId36"/>
    <p:sldLayoutId id="2147485163" r:id="rId37"/>
    <p:sldLayoutId id="2147485139" r:id="rId38"/>
    <p:sldLayoutId id="2147485140" r:id="rId39"/>
    <p:sldLayoutId id="2147485122" r:id="rId40"/>
    <p:sldLayoutId id="2147485123" r:id="rId41"/>
    <p:sldLayoutId id="2147485151" r:id="rId42"/>
    <p:sldLayoutId id="2147485168" r:id="rId43"/>
    <p:sldLayoutId id="2147485127" r:id="rId44"/>
    <p:sldLayoutId id="2147485169" r:id="rId45"/>
    <p:sldLayoutId id="2147485126" r:id="rId46"/>
    <p:sldLayoutId id="2147485170" r:id="rId47"/>
    <p:sldLayoutId id="2147485153" r:id="rId48"/>
    <p:sldLayoutId id="2147485171" r:id="rId49"/>
    <p:sldLayoutId id="2147485128" r:id="rId50"/>
    <p:sldLayoutId id="2147485129" r:id="rId51"/>
    <p:sldLayoutId id="2147485130" r:id="rId52"/>
    <p:sldLayoutId id="2147485131" r:id="rId53"/>
    <p:sldLayoutId id="2147485145" r:id="rId54"/>
    <p:sldLayoutId id="2147485133" r:id="rId55"/>
    <p:sldLayoutId id="2147485144" r:id="rId56"/>
    <p:sldLayoutId id="2147485134" r:id="rId57"/>
    <p:sldLayoutId id="2147485146" r:id="rId58"/>
    <p:sldLayoutId id="2147485160" r:id="rId59"/>
    <p:sldLayoutId id="2147485172" r:id="rId60"/>
    <p:sldLayoutId id="2147485173" r:id="rId61"/>
    <p:sldLayoutId id="2147485174" r:id="rId62"/>
    <p:sldLayoutId id="2147485175" r:id="rId63"/>
    <p:sldLayoutId id="2147485176" r:id="rId64"/>
    <p:sldLayoutId id="2147485177" r:id="rId65"/>
    <p:sldLayoutId id="2147485178" r:id="rId66"/>
    <p:sldLayoutId id="2147485179" r:id="rId67"/>
    <p:sldLayoutId id="2147485180" r:id="rId68"/>
    <p:sldLayoutId id="2147485187" r:id="rId69"/>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00968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968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968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968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968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968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43.png"/><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48.sv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1.xml"/><Relationship Id="rId11" Type="http://schemas.openxmlformats.org/officeDocument/2006/relationships/image" Target="../media/image47.png"/><Relationship Id="rId5" Type="http://schemas.openxmlformats.org/officeDocument/2006/relationships/diagramQuickStyle" Target="../diagrams/quickStyle1.xml"/><Relationship Id="rId10" Type="http://schemas.openxmlformats.org/officeDocument/2006/relationships/image" Target="../media/image46.png"/><Relationship Id="rId4" Type="http://schemas.openxmlformats.org/officeDocument/2006/relationships/diagramLayout" Target="../diagrams/layout1.xml"/><Relationship Id="rId9"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58.svg"/></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9.xml"/></Relationships>
</file>

<file path=ppt/slides/_rels/slide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69.xml"/></Relationships>
</file>

<file path=ppt/slides/_rels/slide1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69.xml"/></Relationships>
</file>

<file path=ppt/slides/_rels/slide2.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6.emf"/><Relationship Id="rId2" Type="http://schemas.openxmlformats.org/officeDocument/2006/relationships/tags" Target="../tags/tag77.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6.xml"/><Relationship Id="rId1" Type="http://schemas.openxmlformats.org/officeDocument/2006/relationships/slideLayout" Target="../slideLayouts/slideLayout69.xml"/><Relationship Id="rId4" Type="http://schemas.openxmlformats.org/officeDocument/2006/relationships/image" Target="../media/image69.png"/></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73.png"/></Relationships>
</file>

<file path=ppt/slides/_rels/slide2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2.xml"/><Relationship Id="rId1" Type="http://schemas.openxmlformats.org/officeDocument/2006/relationships/slideLayout" Target="../slideLayouts/slideLayout14.xml"/><Relationship Id="rId5" Type="http://schemas.openxmlformats.org/officeDocument/2006/relationships/image" Target="../media/image78.svg"/><Relationship Id="rId4" Type="http://schemas.openxmlformats.org/officeDocument/2006/relationships/image" Target="../media/image77.png"/></Relationships>
</file>

<file path=ppt/slides/_rels/slide28.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79.png"/><Relationship Id="rId7" Type="http://schemas.openxmlformats.org/officeDocument/2006/relationships/image" Target="../media/image81.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microsoft.com/office/2007/relationships/hdphoto" Target="../media/hdphoto2.wdp"/><Relationship Id="rId5" Type="http://schemas.openxmlformats.org/officeDocument/2006/relationships/image" Target="../media/image29.png"/><Relationship Id="rId4" Type="http://schemas.openxmlformats.org/officeDocument/2006/relationships/image" Target="../media/image80.svg"/></Relationships>
</file>

<file path=ppt/slides/_rels/slide2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7.jpeg"/><Relationship Id="rId7"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8.jpeg"/></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microsoft.com/office/2007/relationships/hdphoto" Target="../media/hdphoto2.wdp"/></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B961EB-BDBD-4B74-AFA0-D0C289A570E1}"/>
              </a:ext>
            </a:extLst>
          </p:cNvPr>
          <p:cNvSpPr>
            <a:spLocks noGrp="1"/>
          </p:cNvSpPr>
          <p:nvPr>
            <p:ph type="title"/>
          </p:nvPr>
        </p:nvSpPr>
        <p:spPr/>
        <p:txBody>
          <a:bodyPr/>
          <a:lstStyle/>
          <a:p>
            <a:r>
              <a:rPr lang="de-DE"/>
              <a:t>Sachen die noch erledigt werden müssen/Fragen</a:t>
            </a:r>
          </a:p>
        </p:txBody>
      </p:sp>
      <p:sp>
        <p:nvSpPr>
          <p:cNvPr id="3" name="Textplatzhalter 2">
            <a:extLst>
              <a:ext uri="{FF2B5EF4-FFF2-40B4-BE49-F238E27FC236}">
                <a16:creationId xmlns:a16="http://schemas.microsoft.com/office/drawing/2014/main" id="{7A45204B-E43B-43FF-B6D3-0D87A5F8D17D}"/>
              </a:ext>
            </a:extLst>
          </p:cNvPr>
          <p:cNvSpPr>
            <a:spLocks noGrp="1"/>
          </p:cNvSpPr>
          <p:nvPr>
            <p:ph type="body" sz="quarter" idx="10"/>
          </p:nvPr>
        </p:nvSpPr>
        <p:spPr/>
        <p:txBody>
          <a:bodyPr vert="horz" lIns="0" tIns="0" rIns="0" bIns="0" rtlCol="0" anchor="t">
            <a:noAutofit/>
          </a:bodyPr>
          <a:lstStyle/>
          <a:p>
            <a:r>
              <a:rPr lang="de-DE">
                <a:ea typeface="+mn-lt"/>
                <a:cs typeface="+mn-lt"/>
              </a:rPr>
              <a:t>- Folie 2 Fotos einfügen</a:t>
            </a:r>
            <a:endParaRPr lang="de-DE"/>
          </a:p>
          <a:p>
            <a:r>
              <a:rPr lang="de-DE">
                <a:ea typeface="+mn-lt"/>
                <a:cs typeface="+mn-lt"/>
              </a:rPr>
              <a:t>- Achsen beschriften auf der Data </a:t>
            </a:r>
            <a:r>
              <a:rPr lang="de-DE" err="1">
                <a:ea typeface="+mn-lt"/>
                <a:cs typeface="+mn-lt"/>
              </a:rPr>
              <a:t>Cleaning</a:t>
            </a:r>
            <a:r>
              <a:rPr lang="de-DE">
                <a:ea typeface="+mn-lt"/>
                <a:cs typeface="+mn-lt"/>
              </a:rPr>
              <a:t> Folie und LSTM Evaluation Folie</a:t>
            </a:r>
            <a:endParaRPr lang="de-DE"/>
          </a:p>
          <a:p>
            <a:r>
              <a:rPr lang="de-DE">
                <a:ea typeface="+mn-lt"/>
                <a:cs typeface="+mn-lt"/>
              </a:rPr>
              <a:t>- Fehler beim LSTM wie zu interpretieren? 0.00... in </a:t>
            </a:r>
            <a:r>
              <a:rPr lang="de-DE" err="1">
                <a:ea typeface="+mn-lt"/>
                <a:cs typeface="+mn-lt"/>
              </a:rPr>
              <a:t>hinsicht</a:t>
            </a:r>
            <a:r>
              <a:rPr lang="de-DE">
                <a:ea typeface="+mn-lt"/>
                <a:cs typeface="+mn-lt"/>
              </a:rPr>
              <a:t> auf den </a:t>
            </a:r>
            <a:r>
              <a:rPr lang="de-DE" err="1">
                <a:ea typeface="+mn-lt"/>
                <a:cs typeface="+mn-lt"/>
              </a:rPr>
              <a:t>plot</a:t>
            </a:r>
            <a:endParaRPr lang="de-DE"/>
          </a:p>
          <a:p>
            <a:r>
              <a:rPr lang="de-DE">
                <a:ea typeface="+mn-lt"/>
                <a:cs typeface="+mn-lt"/>
              </a:rPr>
              <a:t>- Parameter für LSTM Einfügen/prüfen nach Richtigkeit</a:t>
            </a:r>
          </a:p>
          <a:p>
            <a:r>
              <a:rPr lang="de-DE"/>
              <a:t>- Folie First </a:t>
            </a:r>
            <a:r>
              <a:rPr lang="de-DE" err="1"/>
              <a:t>Visualization</a:t>
            </a:r>
            <a:r>
              <a:rPr lang="de-DE"/>
              <a:t>: Plot rechts unten, was bedeutet das nochmal? </a:t>
            </a:r>
            <a:r>
              <a:rPr lang="de-DE">
                <a:solidFill>
                  <a:srgbClr val="FF0000"/>
                </a:solidFill>
              </a:rPr>
              <a:t>--&gt; Da sieht man wie viele Messungen es pro Container gibt. Ergebnis daraus wäre dann </a:t>
            </a:r>
            <a:r>
              <a:rPr lang="de-DE" err="1">
                <a:solidFill>
                  <a:srgbClr val="FF0000"/>
                </a:solidFill>
              </a:rPr>
              <a:t>evtl</a:t>
            </a:r>
            <a:r>
              <a:rPr lang="de-DE">
                <a:solidFill>
                  <a:srgbClr val="FF0000"/>
                </a:solidFill>
              </a:rPr>
              <a:t>, die Container mit zu wenigen Messungen nicht mehr zu berücksichtigen.</a:t>
            </a:r>
          </a:p>
          <a:p>
            <a:r>
              <a:rPr lang="de-DE">
                <a:solidFill>
                  <a:srgbClr val="0070C0"/>
                </a:solidFill>
              </a:rPr>
              <a:t>Aber es gibt doch keine 160.000 Messungen für einen Container?</a:t>
            </a:r>
          </a:p>
          <a:p>
            <a:r>
              <a:rPr lang="de-DE"/>
              <a:t>- GUI-Video in Live Demo einfügen?</a:t>
            </a:r>
          </a:p>
        </p:txBody>
      </p:sp>
    </p:spTree>
    <p:extLst>
      <p:ext uri="{BB962C8B-B14F-4D97-AF65-F5344CB8AC3E}">
        <p14:creationId xmlns:p14="http://schemas.microsoft.com/office/powerpoint/2010/main" val="275207278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40D52-CAF7-46D5-9BE7-77616DCDC369}"/>
              </a:ext>
            </a:extLst>
          </p:cNvPr>
          <p:cNvSpPr>
            <a:spLocks noGrp="1"/>
          </p:cNvSpPr>
          <p:nvPr>
            <p:ph type="title"/>
          </p:nvPr>
        </p:nvSpPr>
        <p:spPr>
          <a:xfrm>
            <a:off x="630000" y="622800"/>
            <a:ext cx="3127881" cy="1495794"/>
          </a:xfrm>
        </p:spPr>
        <p:txBody>
          <a:bodyPr anchor="t"/>
          <a:lstStyle/>
          <a:p>
            <a:r>
              <a:rPr lang="en-US" sz="4800"/>
              <a:t>2</a:t>
            </a:r>
            <a:br>
              <a:rPr lang="en-US" sz="4800"/>
            </a:br>
            <a:r>
              <a:rPr lang="en-US" sz="4800"/>
              <a:t>Pre-</a:t>
            </a:r>
            <a:br>
              <a:rPr lang="en-US" sz="4800"/>
            </a:br>
            <a:r>
              <a:rPr lang="en-US" sz="4800"/>
              <a:t>processing</a:t>
            </a:r>
            <a:br>
              <a:rPr lang="en-US" sz="4800"/>
            </a:br>
            <a:endParaRPr lang="en-US" sz="4800"/>
          </a:p>
        </p:txBody>
      </p:sp>
      <p:sp>
        <p:nvSpPr>
          <p:cNvPr id="4" name="Title 1">
            <a:extLst>
              <a:ext uri="{FF2B5EF4-FFF2-40B4-BE49-F238E27FC236}">
                <a16:creationId xmlns:a16="http://schemas.microsoft.com/office/drawing/2014/main" id="{AE84365F-945A-4B25-BB47-3C21A70520BB}"/>
              </a:ext>
            </a:extLst>
          </p:cNvPr>
          <p:cNvSpPr txBox="1">
            <a:spLocks/>
          </p:cNvSpPr>
          <p:nvPr/>
        </p:nvSpPr>
        <p:spPr>
          <a:xfrm>
            <a:off x="4500979" y="622799"/>
            <a:ext cx="7061021" cy="941795"/>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endParaRPr lang="en-US">
              <a:solidFill>
                <a:srgbClr val="009682"/>
              </a:solidFill>
            </a:endParaRPr>
          </a:p>
        </p:txBody>
      </p:sp>
      <p:sp>
        <p:nvSpPr>
          <p:cNvPr id="27" name="Textfeld 26">
            <a:extLst>
              <a:ext uri="{FF2B5EF4-FFF2-40B4-BE49-F238E27FC236}">
                <a16:creationId xmlns:a16="http://schemas.microsoft.com/office/drawing/2014/main" id="{BFE28822-2483-EC44-90BE-03040373488F}"/>
              </a:ext>
            </a:extLst>
          </p:cNvPr>
          <p:cNvSpPr txBox="1"/>
          <p:nvPr/>
        </p:nvSpPr>
        <p:spPr>
          <a:xfrm>
            <a:off x="1989438" y="22489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5" name="Rechteck: abgerundete Ecken 4">
            <a:extLst>
              <a:ext uri="{FF2B5EF4-FFF2-40B4-BE49-F238E27FC236}">
                <a16:creationId xmlns:a16="http://schemas.microsoft.com/office/drawing/2014/main" id="{A5FF8EFB-0536-4272-A429-DA4D6DB29FB4}"/>
              </a:ext>
            </a:extLst>
          </p:cNvPr>
          <p:cNvSpPr/>
          <p:nvPr/>
        </p:nvSpPr>
        <p:spPr>
          <a:xfrm>
            <a:off x="5113849" y="933585"/>
            <a:ext cx="6035040" cy="563880"/>
          </a:xfrm>
          <a:prstGeom prst="roundRect">
            <a:avLst/>
          </a:prstGeom>
          <a:solidFill>
            <a:schemeClr val="bg1">
              <a:lumMod val="6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2000">
                <a:solidFill>
                  <a:srgbClr val="FFFFFF"/>
                </a:solidFill>
              </a:rPr>
              <a:t>Aggregation </a:t>
            </a:r>
            <a:r>
              <a:rPr lang="de-DE" sz="2000" err="1">
                <a:solidFill>
                  <a:srgbClr val="FFFFFF"/>
                </a:solidFill>
              </a:rPr>
              <a:t>of</a:t>
            </a:r>
            <a:r>
              <a:rPr lang="de-DE" sz="2000">
                <a:solidFill>
                  <a:srgbClr val="FFFFFF"/>
                </a:solidFill>
              </a:rPr>
              <a:t> Data </a:t>
            </a:r>
          </a:p>
        </p:txBody>
      </p:sp>
      <p:sp>
        <p:nvSpPr>
          <p:cNvPr id="6" name="Rechteck: abgerundete Ecken 5">
            <a:extLst>
              <a:ext uri="{FF2B5EF4-FFF2-40B4-BE49-F238E27FC236}">
                <a16:creationId xmlns:a16="http://schemas.microsoft.com/office/drawing/2014/main" id="{B933601C-9C64-43B9-8258-485E899DB0C5}"/>
              </a:ext>
            </a:extLst>
          </p:cNvPr>
          <p:cNvSpPr/>
          <p:nvPr/>
        </p:nvSpPr>
        <p:spPr>
          <a:xfrm>
            <a:off x="5113849" y="1843540"/>
            <a:ext cx="6035040" cy="563880"/>
          </a:xfrm>
          <a:prstGeom prst="roundRect">
            <a:avLst/>
          </a:prstGeom>
          <a:solidFill>
            <a:srgbClr val="00968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2000">
                <a:solidFill>
                  <a:srgbClr val="FFFFFF"/>
                </a:solidFill>
              </a:rPr>
              <a:t>Processing </a:t>
            </a:r>
            <a:r>
              <a:rPr lang="de-DE" sz="2000" err="1">
                <a:solidFill>
                  <a:srgbClr val="FFFFFF"/>
                </a:solidFill>
              </a:rPr>
              <a:t>of</a:t>
            </a:r>
            <a:r>
              <a:rPr lang="de-DE" sz="2000">
                <a:solidFill>
                  <a:srgbClr val="FFFFFF"/>
                </a:solidFill>
              </a:rPr>
              <a:t> </a:t>
            </a:r>
            <a:r>
              <a:rPr lang="de-DE" sz="2000" err="1">
                <a:solidFill>
                  <a:srgbClr val="FFFFFF"/>
                </a:solidFill>
              </a:rPr>
              <a:t>Provided</a:t>
            </a:r>
            <a:r>
              <a:rPr lang="de-DE" sz="2000">
                <a:solidFill>
                  <a:srgbClr val="FFFFFF"/>
                </a:solidFill>
              </a:rPr>
              <a:t> Data</a:t>
            </a:r>
          </a:p>
        </p:txBody>
      </p:sp>
      <p:sp>
        <p:nvSpPr>
          <p:cNvPr id="7" name="Rechteck: abgerundete Ecken 6">
            <a:extLst>
              <a:ext uri="{FF2B5EF4-FFF2-40B4-BE49-F238E27FC236}">
                <a16:creationId xmlns:a16="http://schemas.microsoft.com/office/drawing/2014/main" id="{9A8624D2-C28F-486F-AD8F-212A939CE397}"/>
              </a:ext>
            </a:extLst>
          </p:cNvPr>
          <p:cNvSpPr/>
          <p:nvPr/>
        </p:nvSpPr>
        <p:spPr>
          <a:xfrm>
            <a:off x="5113849" y="2753495"/>
            <a:ext cx="6035040" cy="563880"/>
          </a:xfrm>
          <a:prstGeom prst="roundRect">
            <a:avLst/>
          </a:prstGeom>
          <a:solidFill>
            <a:srgbClr val="00968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2000" err="1">
                <a:solidFill>
                  <a:srgbClr val="FFFFFF"/>
                </a:solidFill>
              </a:rPr>
              <a:t>Inclusion</a:t>
            </a:r>
            <a:r>
              <a:rPr lang="de-DE" sz="2000">
                <a:solidFill>
                  <a:srgbClr val="FFFFFF"/>
                </a:solidFill>
              </a:rPr>
              <a:t> </a:t>
            </a:r>
            <a:r>
              <a:rPr lang="de-DE" sz="2000" err="1">
                <a:solidFill>
                  <a:srgbClr val="FFFFFF"/>
                </a:solidFill>
              </a:rPr>
              <a:t>of</a:t>
            </a:r>
            <a:r>
              <a:rPr lang="de-DE" sz="2000">
                <a:solidFill>
                  <a:srgbClr val="FFFFFF"/>
                </a:solidFill>
              </a:rPr>
              <a:t> External Data</a:t>
            </a:r>
          </a:p>
        </p:txBody>
      </p:sp>
      <p:sp>
        <p:nvSpPr>
          <p:cNvPr id="8" name="Rechteck: abgerundete Ecken 7">
            <a:extLst>
              <a:ext uri="{FF2B5EF4-FFF2-40B4-BE49-F238E27FC236}">
                <a16:creationId xmlns:a16="http://schemas.microsoft.com/office/drawing/2014/main" id="{852E5B90-3587-4B54-BCEF-B82EF90AEE90}"/>
              </a:ext>
            </a:extLst>
          </p:cNvPr>
          <p:cNvSpPr/>
          <p:nvPr/>
        </p:nvSpPr>
        <p:spPr>
          <a:xfrm>
            <a:off x="5113849" y="3663450"/>
            <a:ext cx="6035040" cy="563880"/>
          </a:xfrm>
          <a:prstGeom prst="roundRect">
            <a:avLst/>
          </a:prstGeom>
          <a:solidFill>
            <a:srgbClr val="00968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2000">
                <a:solidFill>
                  <a:srgbClr val="FFFFFF"/>
                </a:solidFill>
              </a:rPr>
              <a:t>Data </a:t>
            </a:r>
            <a:r>
              <a:rPr lang="de-DE" sz="2000" err="1">
                <a:solidFill>
                  <a:srgbClr val="FFFFFF"/>
                </a:solidFill>
              </a:rPr>
              <a:t>Cleaning</a:t>
            </a:r>
            <a:endParaRPr lang="de-DE" sz="2000">
              <a:solidFill>
                <a:srgbClr val="FFFFFF"/>
              </a:solidFill>
            </a:endParaRPr>
          </a:p>
        </p:txBody>
      </p:sp>
      <p:sp>
        <p:nvSpPr>
          <p:cNvPr id="9" name="Rechteck: abgerundete Ecken 8">
            <a:extLst>
              <a:ext uri="{FF2B5EF4-FFF2-40B4-BE49-F238E27FC236}">
                <a16:creationId xmlns:a16="http://schemas.microsoft.com/office/drawing/2014/main" id="{8DD3DDF7-6DD0-4D3C-8F2C-C9786EA32C54}"/>
              </a:ext>
            </a:extLst>
          </p:cNvPr>
          <p:cNvSpPr/>
          <p:nvPr/>
        </p:nvSpPr>
        <p:spPr>
          <a:xfrm>
            <a:off x="5113849" y="4573405"/>
            <a:ext cx="6035040" cy="563880"/>
          </a:xfrm>
          <a:prstGeom prst="roundRect">
            <a:avLst/>
          </a:prstGeom>
          <a:solidFill>
            <a:srgbClr val="00968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2000" err="1">
                <a:solidFill>
                  <a:srgbClr val="FFFFFF"/>
                </a:solidFill>
              </a:rPr>
              <a:t>Two</a:t>
            </a:r>
            <a:r>
              <a:rPr lang="de-DE" sz="2000">
                <a:solidFill>
                  <a:srgbClr val="FFFFFF"/>
                </a:solidFill>
              </a:rPr>
              <a:t>-Track Approach</a:t>
            </a:r>
          </a:p>
        </p:txBody>
      </p:sp>
      <p:sp>
        <p:nvSpPr>
          <p:cNvPr id="10" name="Rechteck: abgerundete Ecken 9">
            <a:extLst>
              <a:ext uri="{FF2B5EF4-FFF2-40B4-BE49-F238E27FC236}">
                <a16:creationId xmlns:a16="http://schemas.microsoft.com/office/drawing/2014/main" id="{00C9EB6A-5D2C-4FC5-A5EB-091F98C6F2BD}"/>
              </a:ext>
            </a:extLst>
          </p:cNvPr>
          <p:cNvSpPr/>
          <p:nvPr/>
        </p:nvSpPr>
        <p:spPr>
          <a:xfrm>
            <a:off x="5113849" y="5483360"/>
            <a:ext cx="6035040" cy="563880"/>
          </a:xfrm>
          <a:prstGeom prst="roundRect">
            <a:avLst/>
          </a:prstGeom>
          <a:solidFill>
            <a:schemeClr val="bg1">
              <a:lumMod val="6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2000">
                <a:solidFill>
                  <a:srgbClr val="FFFFFF"/>
                </a:solidFill>
              </a:rPr>
              <a:t>Model</a:t>
            </a:r>
          </a:p>
        </p:txBody>
      </p:sp>
      <p:sp>
        <p:nvSpPr>
          <p:cNvPr id="11" name="Pfeil: nach unten 10">
            <a:extLst>
              <a:ext uri="{FF2B5EF4-FFF2-40B4-BE49-F238E27FC236}">
                <a16:creationId xmlns:a16="http://schemas.microsoft.com/office/drawing/2014/main" id="{D759946E-9FCD-41CB-B926-AD5894C68286}"/>
              </a:ext>
            </a:extLst>
          </p:cNvPr>
          <p:cNvSpPr/>
          <p:nvPr/>
        </p:nvSpPr>
        <p:spPr>
          <a:xfrm>
            <a:off x="7737669" y="1497465"/>
            <a:ext cx="787400" cy="346075"/>
          </a:xfrm>
          <a:prstGeom prst="down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12" name="Pfeil: nach unten 11">
            <a:extLst>
              <a:ext uri="{FF2B5EF4-FFF2-40B4-BE49-F238E27FC236}">
                <a16:creationId xmlns:a16="http://schemas.microsoft.com/office/drawing/2014/main" id="{42785043-2643-4413-B2AD-F21BF0386B76}"/>
              </a:ext>
            </a:extLst>
          </p:cNvPr>
          <p:cNvSpPr/>
          <p:nvPr/>
        </p:nvSpPr>
        <p:spPr>
          <a:xfrm>
            <a:off x="7737669" y="2407420"/>
            <a:ext cx="787400" cy="346075"/>
          </a:xfrm>
          <a:prstGeom prst="down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13" name="Pfeil: nach unten 12">
            <a:extLst>
              <a:ext uri="{FF2B5EF4-FFF2-40B4-BE49-F238E27FC236}">
                <a16:creationId xmlns:a16="http://schemas.microsoft.com/office/drawing/2014/main" id="{87EE41CF-C6C7-44F0-B225-287A67C84592}"/>
              </a:ext>
            </a:extLst>
          </p:cNvPr>
          <p:cNvSpPr/>
          <p:nvPr/>
        </p:nvSpPr>
        <p:spPr>
          <a:xfrm>
            <a:off x="7737669" y="3317375"/>
            <a:ext cx="787400" cy="346075"/>
          </a:xfrm>
          <a:prstGeom prst="down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14" name="Pfeil: nach unten 13">
            <a:extLst>
              <a:ext uri="{FF2B5EF4-FFF2-40B4-BE49-F238E27FC236}">
                <a16:creationId xmlns:a16="http://schemas.microsoft.com/office/drawing/2014/main" id="{70975FD2-4DD1-4CFF-91C3-C0D446289008}"/>
              </a:ext>
            </a:extLst>
          </p:cNvPr>
          <p:cNvSpPr/>
          <p:nvPr/>
        </p:nvSpPr>
        <p:spPr>
          <a:xfrm>
            <a:off x="7737669" y="4227330"/>
            <a:ext cx="787400" cy="346075"/>
          </a:xfrm>
          <a:prstGeom prst="down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15" name="Pfeil: nach unten 14">
            <a:extLst>
              <a:ext uri="{FF2B5EF4-FFF2-40B4-BE49-F238E27FC236}">
                <a16:creationId xmlns:a16="http://schemas.microsoft.com/office/drawing/2014/main" id="{8A09D31F-98F3-4E30-BEDE-7B7717C22651}"/>
              </a:ext>
            </a:extLst>
          </p:cNvPr>
          <p:cNvSpPr/>
          <p:nvPr/>
        </p:nvSpPr>
        <p:spPr>
          <a:xfrm>
            <a:off x="7737669" y="5137285"/>
            <a:ext cx="787400" cy="346075"/>
          </a:xfrm>
          <a:prstGeom prst="down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16" name="Pfeil: nach rechts gekrümmt 15">
            <a:extLst>
              <a:ext uri="{FF2B5EF4-FFF2-40B4-BE49-F238E27FC236}">
                <a16:creationId xmlns:a16="http://schemas.microsoft.com/office/drawing/2014/main" id="{AF52FF2F-31E2-426B-939A-59FF00029059}"/>
              </a:ext>
            </a:extLst>
          </p:cNvPr>
          <p:cNvSpPr/>
          <p:nvPr/>
        </p:nvSpPr>
        <p:spPr>
          <a:xfrm rot="10800000">
            <a:off x="11185494" y="3825875"/>
            <a:ext cx="576263" cy="1090613"/>
          </a:xfrm>
          <a:prstGeom prst="curved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17" name="Pfeil: nach rechts gekrümmt 16">
            <a:extLst>
              <a:ext uri="{FF2B5EF4-FFF2-40B4-BE49-F238E27FC236}">
                <a16:creationId xmlns:a16="http://schemas.microsoft.com/office/drawing/2014/main" id="{22DD6667-5404-40C6-8432-7B06175C1B8E}"/>
              </a:ext>
            </a:extLst>
          </p:cNvPr>
          <p:cNvSpPr/>
          <p:nvPr/>
        </p:nvSpPr>
        <p:spPr>
          <a:xfrm rot="10800000">
            <a:off x="11185493" y="2016918"/>
            <a:ext cx="576263" cy="1090613"/>
          </a:xfrm>
          <a:prstGeom prst="curved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18" name="Pfeil: nach links gekrümmt 17">
            <a:extLst>
              <a:ext uri="{FF2B5EF4-FFF2-40B4-BE49-F238E27FC236}">
                <a16:creationId xmlns:a16="http://schemas.microsoft.com/office/drawing/2014/main" id="{2A9B8F19-B412-4891-B46A-3C28E5D7DFF9}"/>
              </a:ext>
            </a:extLst>
          </p:cNvPr>
          <p:cNvSpPr/>
          <p:nvPr/>
        </p:nvSpPr>
        <p:spPr>
          <a:xfrm rot="10800000">
            <a:off x="4500981" y="2936692"/>
            <a:ext cx="576263" cy="1090615"/>
          </a:xfrm>
          <a:prstGeom prst="curvedLef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19" name="Pfeil: nach links gekrümmt 18">
            <a:extLst>
              <a:ext uri="{FF2B5EF4-FFF2-40B4-BE49-F238E27FC236}">
                <a16:creationId xmlns:a16="http://schemas.microsoft.com/office/drawing/2014/main" id="{30D64637-11AC-4361-A1E5-476033849A39}"/>
              </a:ext>
            </a:extLst>
          </p:cNvPr>
          <p:cNvSpPr/>
          <p:nvPr/>
        </p:nvSpPr>
        <p:spPr>
          <a:xfrm rot="10800000">
            <a:off x="4500980" y="1125194"/>
            <a:ext cx="576263" cy="1090615"/>
          </a:xfrm>
          <a:prstGeom prst="curvedLef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20" name="Pfeil: nach links gekrümmt 19">
            <a:extLst>
              <a:ext uri="{FF2B5EF4-FFF2-40B4-BE49-F238E27FC236}">
                <a16:creationId xmlns:a16="http://schemas.microsoft.com/office/drawing/2014/main" id="{C8ABF158-22DE-472C-9938-0EC86C74C20E}"/>
              </a:ext>
            </a:extLst>
          </p:cNvPr>
          <p:cNvSpPr/>
          <p:nvPr/>
        </p:nvSpPr>
        <p:spPr>
          <a:xfrm rot="10800000">
            <a:off x="4500979" y="4748189"/>
            <a:ext cx="576263" cy="1090615"/>
          </a:xfrm>
          <a:prstGeom prst="curvedLef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Tree>
    <p:extLst>
      <p:ext uri="{BB962C8B-B14F-4D97-AF65-F5344CB8AC3E}">
        <p14:creationId xmlns:p14="http://schemas.microsoft.com/office/powerpoint/2010/main" val="140542113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19B9B-9193-4140-874C-B30196EB1CEF}"/>
              </a:ext>
            </a:extLst>
          </p:cNvPr>
          <p:cNvSpPr>
            <a:spLocks noGrp="1"/>
          </p:cNvSpPr>
          <p:nvPr>
            <p:ph type="title"/>
          </p:nvPr>
        </p:nvSpPr>
        <p:spPr/>
        <p:txBody>
          <a:bodyPr/>
          <a:lstStyle/>
          <a:p>
            <a:r>
              <a:rPr lang="en-GB"/>
              <a:t>Processing of Provided Data.</a:t>
            </a:r>
            <a:endParaRPr lang="LID4096"/>
          </a:p>
        </p:txBody>
      </p:sp>
      <p:sp>
        <p:nvSpPr>
          <p:cNvPr id="3" name="Textplatzhalter 2">
            <a:extLst>
              <a:ext uri="{FF2B5EF4-FFF2-40B4-BE49-F238E27FC236}">
                <a16:creationId xmlns:a16="http://schemas.microsoft.com/office/drawing/2014/main" id="{2378418A-692F-48BA-B9FB-00467DF819BF}"/>
              </a:ext>
            </a:extLst>
          </p:cNvPr>
          <p:cNvSpPr>
            <a:spLocks noGrp="1"/>
          </p:cNvSpPr>
          <p:nvPr>
            <p:ph type="body" sz="quarter" idx="10"/>
          </p:nvPr>
        </p:nvSpPr>
        <p:spPr>
          <a:xfrm>
            <a:off x="629400" y="4441953"/>
            <a:ext cx="4796870" cy="1732806"/>
          </a:xfrm>
        </p:spPr>
        <p:txBody>
          <a:bodyPr/>
          <a:lstStyle/>
          <a:p>
            <a:endParaRPr lang="de-DE"/>
          </a:p>
          <a:p>
            <a:pPr>
              <a:buNone/>
            </a:pPr>
            <a:endParaRPr lang="de-DE"/>
          </a:p>
        </p:txBody>
      </p:sp>
      <p:sp>
        <p:nvSpPr>
          <p:cNvPr id="6" name="Rechteck 5">
            <a:extLst>
              <a:ext uri="{FF2B5EF4-FFF2-40B4-BE49-F238E27FC236}">
                <a16:creationId xmlns:a16="http://schemas.microsoft.com/office/drawing/2014/main" id="{55F48A61-FCB5-440A-B5A3-B6F9332E2338}"/>
              </a:ext>
            </a:extLst>
          </p:cNvPr>
          <p:cNvSpPr/>
          <p:nvPr/>
        </p:nvSpPr>
        <p:spPr>
          <a:xfrm>
            <a:off x="638482" y="1253538"/>
            <a:ext cx="4739763" cy="1990868"/>
          </a:xfrm>
          <a:prstGeom prst="rect">
            <a:avLst/>
          </a:prstGeom>
          <a:noFill/>
          <a:ln w="28575" cap="rnd" cmpd="sng" algn="ctr">
            <a:solidFill>
              <a:srgbClr val="00968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7" name="Textfeld 6">
            <a:extLst>
              <a:ext uri="{FF2B5EF4-FFF2-40B4-BE49-F238E27FC236}">
                <a16:creationId xmlns:a16="http://schemas.microsoft.com/office/drawing/2014/main" id="{74269315-FD08-4D24-9BBE-DBAD3A10708F}"/>
              </a:ext>
            </a:extLst>
          </p:cNvPr>
          <p:cNvSpPr txBox="1"/>
          <p:nvPr/>
        </p:nvSpPr>
        <p:spPr>
          <a:xfrm>
            <a:off x="629400" y="1394941"/>
            <a:ext cx="4739763" cy="156966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e-DE" sz="2400">
                <a:solidFill>
                  <a:srgbClr val="575757"/>
                </a:solidFill>
              </a:rPr>
              <a:t>Change </a:t>
            </a:r>
            <a:r>
              <a:rPr lang="de-DE" sz="2400" err="1">
                <a:solidFill>
                  <a:srgbClr val="575757"/>
                </a:solidFill>
              </a:rPr>
              <a:t>names</a:t>
            </a:r>
            <a:r>
              <a:rPr lang="de-DE" sz="2400">
                <a:solidFill>
                  <a:srgbClr val="575757"/>
                </a:solidFill>
              </a:rPr>
              <a:t> </a:t>
            </a:r>
            <a:r>
              <a:rPr lang="de-DE" sz="2400" err="1">
                <a:solidFill>
                  <a:srgbClr val="575757"/>
                </a:solidFill>
              </a:rPr>
              <a:t>to</a:t>
            </a:r>
            <a:r>
              <a:rPr lang="de-DE" sz="2400">
                <a:solidFill>
                  <a:srgbClr val="575757"/>
                </a:solidFill>
              </a:rPr>
              <a:t> </a:t>
            </a:r>
            <a:r>
              <a:rPr lang="de-DE" sz="2400" err="1">
                <a:solidFill>
                  <a:srgbClr val="575757"/>
                </a:solidFill>
              </a:rPr>
              <a:t>standards</a:t>
            </a:r>
            <a:endParaRPr lang="de-DE" sz="2400">
              <a:solidFill>
                <a:srgbClr val="575757"/>
              </a:solidFill>
            </a:endParaRPr>
          </a:p>
          <a:p>
            <a:pPr algn="ctr"/>
            <a:r>
              <a:rPr lang="de-DE" sz="1200" err="1">
                <a:solidFill>
                  <a:srgbClr val="575757"/>
                </a:solidFill>
              </a:rPr>
              <a:t>for</a:t>
            </a:r>
            <a:r>
              <a:rPr lang="de-DE" sz="1200">
                <a:solidFill>
                  <a:srgbClr val="575757"/>
                </a:solidFill>
              </a:rPr>
              <a:t> </a:t>
            </a:r>
            <a:r>
              <a:rPr lang="de-DE" sz="1200" err="1">
                <a:solidFill>
                  <a:srgbClr val="575757"/>
                </a:solidFill>
              </a:rPr>
              <a:t>example</a:t>
            </a:r>
            <a:r>
              <a:rPr lang="de-DE" sz="1200">
                <a:solidFill>
                  <a:srgbClr val="575757"/>
                </a:solidFill>
              </a:rPr>
              <a:t>:</a:t>
            </a:r>
          </a:p>
          <a:p>
            <a:pPr algn="ctr"/>
            <a:endParaRPr lang="de-DE" sz="1200">
              <a:solidFill>
                <a:srgbClr val="575757"/>
              </a:solidFill>
            </a:endParaRPr>
          </a:p>
          <a:p>
            <a:pPr algn="ctr"/>
            <a:r>
              <a:rPr lang="de-DE" sz="1200" err="1">
                <a:solidFill>
                  <a:srgbClr val="575757"/>
                </a:solidFill>
              </a:rPr>
              <a:t>decoded_data.sensor_data.Temperature</a:t>
            </a:r>
            <a:r>
              <a:rPr lang="de-DE" sz="1200">
                <a:solidFill>
                  <a:srgbClr val="575757"/>
                </a:solidFill>
              </a:rPr>
              <a:t> -&gt; </a:t>
            </a:r>
            <a:r>
              <a:rPr lang="de-DE" sz="1200" err="1">
                <a:solidFill>
                  <a:srgbClr val="575757"/>
                </a:solidFill>
              </a:rPr>
              <a:t>temperatur_in_grad</a:t>
            </a:r>
            <a:endParaRPr lang="de-DE" sz="1200">
              <a:solidFill>
                <a:srgbClr val="575757"/>
              </a:solidFill>
            </a:endParaRPr>
          </a:p>
          <a:p>
            <a:pPr algn="ctr"/>
            <a:endParaRPr lang="de-DE" sz="1200">
              <a:solidFill>
                <a:srgbClr val="575757"/>
              </a:solidFill>
            </a:endParaRPr>
          </a:p>
          <a:p>
            <a:pPr algn="ctr"/>
            <a:r>
              <a:rPr lang="de-DE" sz="1200" err="1">
                <a:solidFill>
                  <a:srgbClr val="575757"/>
                </a:solidFill>
              </a:rPr>
              <a:t>parsed_time_weekday</a:t>
            </a:r>
            <a:r>
              <a:rPr lang="de-DE" sz="1200">
                <a:solidFill>
                  <a:srgbClr val="575757"/>
                </a:solidFill>
              </a:rPr>
              <a:t> -&gt; </a:t>
            </a:r>
            <a:r>
              <a:rPr lang="de-DE" sz="1200" err="1">
                <a:solidFill>
                  <a:srgbClr val="575757"/>
                </a:solidFill>
              </a:rPr>
              <a:t>wochentag</a:t>
            </a:r>
            <a:r>
              <a:rPr lang="de-DE" sz="1200">
                <a:solidFill>
                  <a:srgbClr val="575757"/>
                </a:solidFill>
              </a:rPr>
              <a:t> </a:t>
            </a:r>
            <a:endParaRPr lang="de-DE" sz="1050">
              <a:solidFill>
                <a:srgbClr val="FFFFFF"/>
              </a:solidFill>
            </a:endParaRPr>
          </a:p>
          <a:p>
            <a:pPr lvl="1"/>
            <a:endParaRPr lang="de-DE" sz="1200">
              <a:solidFill>
                <a:srgbClr val="575757"/>
              </a:solidFill>
            </a:endParaRPr>
          </a:p>
        </p:txBody>
      </p:sp>
      <p:sp>
        <p:nvSpPr>
          <p:cNvPr id="8" name="Rechteck 7">
            <a:extLst>
              <a:ext uri="{FF2B5EF4-FFF2-40B4-BE49-F238E27FC236}">
                <a16:creationId xmlns:a16="http://schemas.microsoft.com/office/drawing/2014/main" id="{BABD482E-6850-4713-A991-53A42CDC90C1}"/>
              </a:ext>
            </a:extLst>
          </p:cNvPr>
          <p:cNvSpPr/>
          <p:nvPr/>
        </p:nvSpPr>
        <p:spPr>
          <a:xfrm>
            <a:off x="6542754" y="1234113"/>
            <a:ext cx="4739763" cy="1990868"/>
          </a:xfrm>
          <a:prstGeom prst="rect">
            <a:avLst/>
          </a:prstGeom>
          <a:noFill/>
          <a:ln w="28575" cap="rnd" cmpd="sng" algn="ctr">
            <a:solidFill>
              <a:srgbClr val="00968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9" name="Textfeld 8">
            <a:extLst>
              <a:ext uri="{FF2B5EF4-FFF2-40B4-BE49-F238E27FC236}">
                <a16:creationId xmlns:a16="http://schemas.microsoft.com/office/drawing/2014/main" id="{794A1D83-A169-4E44-B079-92E1A35F91EF}"/>
              </a:ext>
            </a:extLst>
          </p:cNvPr>
          <p:cNvSpPr txBox="1"/>
          <p:nvPr/>
        </p:nvSpPr>
        <p:spPr>
          <a:xfrm>
            <a:off x="6542754" y="1399057"/>
            <a:ext cx="4739763" cy="156966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e-DE" sz="2400">
                <a:solidFill>
                  <a:srgbClr val="575757"/>
                </a:solidFill>
              </a:rPr>
              <a:t>Generate </a:t>
            </a:r>
            <a:r>
              <a:rPr lang="de-DE" sz="2400" err="1">
                <a:solidFill>
                  <a:srgbClr val="575757"/>
                </a:solidFill>
              </a:rPr>
              <a:t>new</a:t>
            </a:r>
            <a:r>
              <a:rPr lang="de-DE" sz="2400">
                <a:solidFill>
                  <a:srgbClr val="575757"/>
                </a:solidFill>
              </a:rPr>
              <a:t> </a:t>
            </a:r>
            <a:r>
              <a:rPr lang="de-DE" sz="2400" err="1">
                <a:solidFill>
                  <a:srgbClr val="575757"/>
                </a:solidFill>
              </a:rPr>
              <a:t>features</a:t>
            </a:r>
            <a:endParaRPr lang="de-DE" sz="2400">
              <a:solidFill>
                <a:srgbClr val="575757"/>
              </a:solidFill>
            </a:endParaRPr>
          </a:p>
          <a:p>
            <a:pPr algn="ctr"/>
            <a:endParaRPr lang="de-DE" sz="2400">
              <a:solidFill>
                <a:srgbClr val="575757"/>
              </a:solidFill>
            </a:endParaRPr>
          </a:p>
          <a:p>
            <a:pPr algn="ctr"/>
            <a:r>
              <a:rPr lang="de-DE" sz="1200" err="1">
                <a:solidFill>
                  <a:srgbClr val="575757"/>
                </a:solidFill>
              </a:rPr>
              <a:t>unix_time</a:t>
            </a:r>
            <a:r>
              <a:rPr lang="de-DE" sz="1200">
                <a:solidFill>
                  <a:srgbClr val="575757"/>
                </a:solidFill>
              </a:rPr>
              <a:t> -&gt; </a:t>
            </a:r>
            <a:r>
              <a:rPr lang="de-DE" sz="1200" err="1">
                <a:solidFill>
                  <a:srgbClr val="575757"/>
                </a:solidFill>
              </a:rPr>
              <a:t>year</a:t>
            </a:r>
            <a:r>
              <a:rPr lang="de-DE" sz="1200">
                <a:solidFill>
                  <a:srgbClr val="575757"/>
                </a:solidFill>
              </a:rPr>
              <a:t>, </a:t>
            </a:r>
            <a:r>
              <a:rPr lang="de-DE" sz="1200" err="1">
                <a:solidFill>
                  <a:srgbClr val="575757"/>
                </a:solidFill>
              </a:rPr>
              <a:t>month</a:t>
            </a:r>
            <a:r>
              <a:rPr lang="de-DE" sz="1200">
                <a:solidFill>
                  <a:srgbClr val="575757"/>
                </a:solidFill>
              </a:rPr>
              <a:t>, </a:t>
            </a:r>
            <a:r>
              <a:rPr lang="de-DE" sz="1200" err="1">
                <a:solidFill>
                  <a:srgbClr val="575757"/>
                </a:solidFill>
              </a:rPr>
              <a:t>week</a:t>
            </a:r>
            <a:r>
              <a:rPr lang="de-DE" sz="1200">
                <a:solidFill>
                  <a:srgbClr val="575757"/>
                </a:solidFill>
              </a:rPr>
              <a:t>, </a:t>
            </a:r>
            <a:r>
              <a:rPr lang="de-DE" sz="1200" err="1">
                <a:solidFill>
                  <a:srgbClr val="575757"/>
                </a:solidFill>
              </a:rPr>
              <a:t>weekday</a:t>
            </a:r>
            <a:r>
              <a:rPr lang="de-DE" sz="1200">
                <a:solidFill>
                  <a:srgbClr val="575757"/>
                </a:solidFill>
              </a:rPr>
              <a:t>, </a:t>
            </a:r>
            <a:r>
              <a:rPr lang="de-DE" sz="1200" err="1">
                <a:solidFill>
                  <a:srgbClr val="575757"/>
                </a:solidFill>
              </a:rPr>
              <a:t>hour</a:t>
            </a:r>
            <a:r>
              <a:rPr lang="de-DE" sz="1200">
                <a:solidFill>
                  <a:srgbClr val="575757"/>
                </a:solidFill>
              </a:rPr>
              <a:t>, </a:t>
            </a:r>
            <a:r>
              <a:rPr lang="de-DE" sz="1200" err="1">
                <a:solidFill>
                  <a:srgbClr val="575757"/>
                </a:solidFill>
              </a:rPr>
              <a:t>minute</a:t>
            </a:r>
            <a:r>
              <a:rPr lang="de-DE" sz="1200">
                <a:solidFill>
                  <a:srgbClr val="575757"/>
                </a:solidFill>
              </a:rPr>
              <a:t>, </a:t>
            </a:r>
            <a:r>
              <a:rPr lang="de-DE" sz="1200" err="1">
                <a:solidFill>
                  <a:srgbClr val="575757"/>
                </a:solidFill>
              </a:rPr>
              <a:t>secound</a:t>
            </a:r>
            <a:endParaRPr lang="de-DE" sz="1200">
              <a:solidFill>
                <a:srgbClr val="575757"/>
              </a:solidFill>
            </a:endParaRPr>
          </a:p>
          <a:p>
            <a:pPr algn="ctr"/>
            <a:endParaRPr lang="de-DE" sz="1200">
              <a:solidFill>
                <a:srgbClr val="575757"/>
              </a:solidFill>
            </a:endParaRPr>
          </a:p>
          <a:p>
            <a:pPr algn="ctr"/>
            <a:r>
              <a:rPr lang="de-DE" sz="1200" err="1">
                <a:solidFill>
                  <a:srgbClr val="575757"/>
                </a:solidFill>
              </a:rPr>
              <a:t>location</a:t>
            </a:r>
            <a:r>
              <a:rPr lang="de-DE" sz="1200">
                <a:solidFill>
                  <a:srgbClr val="575757"/>
                </a:solidFill>
              </a:rPr>
              <a:t> -&gt; </a:t>
            </a:r>
            <a:r>
              <a:rPr lang="de-DE" sz="1200" err="1">
                <a:solidFill>
                  <a:srgbClr val="575757"/>
                </a:solidFill>
              </a:rPr>
              <a:t>längengrad</a:t>
            </a:r>
            <a:r>
              <a:rPr lang="de-DE" sz="1200">
                <a:solidFill>
                  <a:srgbClr val="575757"/>
                </a:solidFill>
              </a:rPr>
              <a:t>, </a:t>
            </a:r>
            <a:r>
              <a:rPr lang="de-DE" sz="1200" err="1">
                <a:solidFill>
                  <a:srgbClr val="575757"/>
                </a:solidFill>
              </a:rPr>
              <a:t>breitengrad</a:t>
            </a:r>
            <a:endParaRPr lang="de-DE" sz="1200">
              <a:solidFill>
                <a:srgbClr val="575757"/>
              </a:solidFill>
            </a:endParaRPr>
          </a:p>
          <a:p>
            <a:pPr algn="ctr"/>
            <a:endParaRPr lang="de-DE" sz="1200">
              <a:solidFill>
                <a:srgbClr val="575757"/>
              </a:solidFill>
            </a:endParaRPr>
          </a:p>
        </p:txBody>
      </p:sp>
      <p:sp>
        <p:nvSpPr>
          <p:cNvPr id="11" name="Rechteck 10">
            <a:extLst>
              <a:ext uri="{FF2B5EF4-FFF2-40B4-BE49-F238E27FC236}">
                <a16:creationId xmlns:a16="http://schemas.microsoft.com/office/drawing/2014/main" id="{3ED10F89-5521-46B3-ABA1-FFA557FD45C0}"/>
              </a:ext>
            </a:extLst>
          </p:cNvPr>
          <p:cNvSpPr/>
          <p:nvPr/>
        </p:nvSpPr>
        <p:spPr>
          <a:xfrm>
            <a:off x="633020" y="3674292"/>
            <a:ext cx="4739763" cy="2598689"/>
          </a:xfrm>
          <a:prstGeom prst="rect">
            <a:avLst/>
          </a:prstGeom>
          <a:noFill/>
          <a:ln w="28575" cap="rnd" cmpd="sng" algn="ctr">
            <a:solidFill>
              <a:srgbClr val="00968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mc:AlternateContent xmlns:mc="http://schemas.openxmlformats.org/markup-compatibility/2006">
        <mc:Choice xmlns:a14="http://schemas.microsoft.com/office/drawing/2010/main" Requires="a14">
          <p:sp>
            <p:nvSpPr>
              <p:cNvPr id="12" name="Textfeld 11">
                <a:extLst>
                  <a:ext uri="{FF2B5EF4-FFF2-40B4-BE49-F238E27FC236}">
                    <a16:creationId xmlns:a16="http://schemas.microsoft.com/office/drawing/2014/main" id="{FE80700B-47A0-4E65-83C3-E86BF80050BF}"/>
                  </a:ext>
                </a:extLst>
              </p:cNvPr>
              <p:cNvSpPr txBox="1"/>
              <p:nvPr/>
            </p:nvSpPr>
            <p:spPr>
              <a:xfrm>
                <a:off x="565337" y="3793017"/>
                <a:ext cx="4739763" cy="661400"/>
              </a:xfrm>
              <a:prstGeom prst="rect">
                <a:avLst/>
              </a:prstGeom>
              <a:noFill/>
              <a:ln w="9525" cap="rnd" cmpd="sng" algn="ctr">
                <a:noFill/>
                <a:prstDash val="solid"/>
                <a:round/>
              </a:ln>
              <a:effectLst/>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e-DE" sz="2400" err="1">
                    <a:solidFill>
                      <a:srgbClr val="575757"/>
                    </a:solidFill>
                  </a:rPr>
                  <a:t>Introduce</a:t>
                </a:r>
                <a:r>
                  <a:rPr lang="de-DE" sz="2400">
                    <a:solidFill>
                      <a:srgbClr val="575757"/>
                    </a:solidFill>
                  </a:rPr>
                  <a:t> Height Delta</a:t>
                </a:r>
              </a:p>
              <a:p>
                <a:pPr algn="ctr"/>
                <a14:m>
                  <m:oMathPara xmlns:m="http://schemas.openxmlformats.org/officeDocument/2006/math">
                    <m:oMathParaPr>
                      <m:jc m:val="centerGroup"/>
                    </m:oMathParaPr>
                    <m:oMath xmlns:m="http://schemas.openxmlformats.org/officeDocument/2006/math">
                      <m:sSub>
                        <m:sSubPr>
                          <m:ctrlPr>
                            <a:rPr lang="de-DE" sz="1200" i="1" smtClean="0">
                              <a:solidFill>
                                <a:srgbClr val="575757"/>
                              </a:solidFill>
                              <a:latin typeface="Cambria Math" panose="02040503050406030204" pitchFamily="18" charset="0"/>
                            </a:rPr>
                          </m:ctrlPr>
                        </m:sSubPr>
                        <m:e>
                          <m:r>
                            <m:rPr>
                              <m:sty m:val="p"/>
                            </m:rPr>
                            <a:rPr lang="el-GR" sz="1200" i="1">
                              <a:solidFill>
                                <a:srgbClr val="575757"/>
                              </a:solidFill>
                              <a:latin typeface="Cambria Math" panose="02040503050406030204" pitchFamily="18" charset="0"/>
                              <a:ea typeface="Cambria Math" panose="02040503050406030204" pitchFamily="18" charset="0"/>
                            </a:rPr>
                            <m:t>Δ</m:t>
                          </m:r>
                        </m:e>
                        <m:sub>
                          <m:r>
                            <a:rPr lang="de-DE" sz="1200" b="0" i="1" smtClean="0">
                              <a:solidFill>
                                <a:srgbClr val="575757"/>
                              </a:solidFill>
                              <a:latin typeface="Cambria Math" panose="02040503050406030204" pitchFamily="18" charset="0"/>
                            </a:rPr>
                            <m:t>𝐻𝑒𝑖𝑔h𝑡</m:t>
                          </m:r>
                        </m:sub>
                      </m:sSub>
                      <m:r>
                        <a:rPr lang="de-DE" sz="1200" b="0" i="1" smtClean="0">
                          <a:solidFill>
                            <a:srgbClr val="575757"/>
                          </a:solidFill>
                          <a:latin typeface="Cambria Math" panose="02040503050406030204" pitchFamily="18" charset="0"/>
                        </a:rPr>
                        <m:t>=</m:t>
                      </m:r>
                      <m:sSub>
                        <m:sSubPr>
                          <m:ctrlPr>
                            <a:rPr lang="de-DE" sz="1200" b="0" i="1" smtClean="0">
                              <a:solidFill>
                                <a:srgbClr val="575757"/>
                              </a:solidFill>
                              <a:latin typeface="Cambria Math" panose="02040503050406030204" pitchFamily="18" charset="0"/>
                            </a:rPr>
                          </m:ctrlPr>
                        </m:sSubPr>
                        <m:e>
                          <m:r>
                            <a:rPr lang="de-DE" sz="1200" b="0" i="1" smtClean="0">
                              <a:solidFill>
                                <a:srgbClr val="575757"/>
                              </a:solidFill>
                              <a:latin typeface="Cambria Math" panose="02040503050406030204" pitchFamily="18" charset="0"/>
                            </a:rPr>
                            <m:t>𝐻𝑒𝑖𝑔h𝑡</m:t>
                          </m:r>
                        </m:e>
                        <m:sub>
                          <m:r>
                            <a:rPr lang="de-DE" sz="1200" b="0" i="1" smtClean="0">
                              <a:solidFill>
                                <a:srgbClr val="575757"/>
                              </a:solidFill>
                              <a:latin typeface="Cambria Math" panose="02040503050406030204" pitchFamily="18" charset="0"/>
                            </a:rPr>
                            <m:t>𝑡</m:t>
                          </m:r>
                        </m:sub>
                      </m:sSub>
                      <m:r>
                        <a:rPr lang="de-DE" sz="1200" b="0" i="1" smtClean="0">
                          <a:solidFill>
                            <a:srgbClr val="575757"/>
                          </a:solidFill>
                          <a:latin typeface="Cambria Math" panose="02040503050406030204" pitchFamily="18" charset="0"/>
                        </a:rPr>
                        <m:t>−</m:t>
                      </m:r>
                      <m:sSub>
                        <m:sSubPr>
                          <m:ctrlPr>
                            <a:rPr lang="de-DE" sz="1200" b="0" i="1" smtClean="0">
                              <a:solidFill>
                                <a:srgbClr val="575757"/>
                              </a:solidFill>
                              <a:latin typeface="Cambria Math" panose="02040503050406030204" pitchFamily="18" charset="0"/>
                            </a:rPr>
                          </m:ctrlPr>
                        </m:sSubPr>
                        <m:e>
                          <m:r>
                            <a:rPr lang="de-DE" sz="1200" b="0" i="1" smtClean="0">
                              <a:solidFill>
                                <a:srgbClr val="575757"/>
                              </a:solidFill>
                              <a:latin typeface="Cambria Math" panose="02040503050406030204" pitchFamily="18" charset="0"/>
                            </a:rPr>
                            <m:t>𝐻𝑒𝑖𝑔h𝑡</m:t>
                          </m:r>
                        </m:e>
                        <m:sub>
                          <m:r>
                            <a:rPr lang="de-DE" sz="1200" b="0" i="1" smtClean="0">
                              <a:solidFill>
                                <a:srgbClr val="575757"/>
                              </a:solidFill>
                              <a:latin typeface="Cambria Math" panose="02040503050406030204" pitchFamily="18" charset="0"/>
                            </a:rPr>
                            <m:t>𝑡</m:t>
                          </m:r>
                          <m:r>
                            <a:rPr lang="de-DE" sz="1200" b="0" i="1" smtClean="0">
                              <a:solidFill>
                                <a:srgbClr val="575757"/>
                              </a:solidFill>
                              <a:latin typeface="Cambria Math" panose="02040503050406030204" pitchFamily="18" charset="0"/>
                            </a:rPr>
                            <m:t>−1</m:t>
                          </m:r>
                        </m:sub>
                      </m:sSub>
                    </m:oMath>
                  </m:oMathPara>
                </a14:m>
                <a:endParaRPr lang="de-DE" sz="2400">
                  <a:solidFill>
                    <a:srgbClr val="575757"/>
                  </a:solidFill>
                </a:endParaRPr>
              </a:p>
            </p:txBody>
          </p:sp>
        </mc:Choice>
        <mc:Fallback>
          <p:sp>
            <p:nvSpPr>
              <p:cNvPr id="12" name="Textfeld 11">
                <a:extLst>
                  <a:ext uri="{FF2B5EF4-FFF2-40B4-BE49-F238E27FC236}">
                    <a16:creationId xmlns:a16="http://schemas.microsoft.com/office/drawing/2014/main" id="{FE80700B-47A0-4E65-83C3-E86BF80050BF}"/>
                  </a:ext>
                </a:extLst>
              </p:cNvPr>
              <p:cNvSpPr txBox="1">
                <a:spLocks noRot="1" noChangeAspect="1" noMove="1" noResize="1" noEditPoints="1" noAdjustHandles="1" noChangeArrowheads="1" noChangeShapeType="1" noTextEdit="1"/>
              </p:cNvSpPr>
              <p:nvPr/>
            </p:nvSpPr>
            <p:spPr>
              <a:xfrm>
                <a:off x="565337" y="3793017"/>
                <a:ext cx="4739763" cy="661400"/>
              </a:xfrm>
              <a:prstGeom prst="rect">
                <a:avLst/>
              </a:prstGeom>
              <a:blipFill>
                <a:blip r:embed="rId3"/>
                <a:stretch>
                  <a:fillRect t="-6422" b="-917"/>
                </a:stretch>
              </a:blip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14" name="Rechteck 13">
            <a:extLst>
              <a:ext uri="{FF2B5EF4-FFF2-40B4-BE49-F238E27FC236}">
                <a16:creationId xmlns:a16="http://schemas.microsoft.com/office/drawing/2014/main" id="{DC5D7665-A8AB-4E98-AAB5-61909C3D1540}"/>
              </a:ext>
            </a:extLst>
          </p:cNvPr>
          <p:cNvSpPr/>
          <p:nvPr/>
        </p:nvSpPr>
        <p:spPr>
          <a:xfrm>
            <a:off x="6549628" y="3674291"/>
            <a:ext cx="4739763" cy="2598689"/>
          </a:xfrm>
          <a:prstGeom prst="rect">
            <a:avLst/>
          </a:prstGeom>
          <a:noFill/>
          <a:ln w="28575" cap="rnd" cmpd="sng" algn="ctr">
            <a:solidFill>
              <a:srgbClr val="00968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15" name="Textfeld 14">
            <a:extLst>
              <a:ext uri="{FF2B5EF4-FFF2-40B4-BE49-F238E27FC236}">
                <a16:creationId xmlns:a16="http://schemas.microsoft.com/office/drawing/2014/main" id="{C8C5BAC6-535F-4616-8EA0-7CC093C06B0C}"/>
              </a:ext>
            </a:extLst>
          </p:cNvPr>
          <p:cNvSpPr txBox="1"/>
          <p:nvPr/>
        </p:nvSpPr>
        <p:spPr>
          <a:xfrm>
            <a:off x="6613690" y="3798314"/>
            <a:ext cx="4739763" cy="101566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e-DE" sz="2400">
                <a:solidFill>
                  <a:srgbClr val="575757"/>
                </a:solidFill>
              </a:rPr>
              <a:t>Remove positive </a:t>
            </a:r>
            <a:r>
              <a:rPr lang="de-DE" sz="2400" err="1">
                <a:solidFill>
                  <a:srgbClr val="575757"/>
                </a:solidFill>
              </a:rPr>
              <a:t>values</a:t>
            </a:r>
            <a:endParaRPr lang="de-DE" sz="2400">
              <a:solidFill>
                <a:srgbClr val="575757"/>
              </a:solidFill>
            </a:endParaRPr>
          </a:p>
          <a:p>
            <a:pPr algn="ctr"/>
            <a:r>
              <a:rPr lang="de-DE" sz="1200" err="1">
                <a:solidFill>
                  <a:srgbClr val="575757"/>
                </a:solidFill>
              </a:rPr>
              <a:t>Emptyings</a:t>
            </a:r>
            <a:r>
              <a:rPr lang="de-DE" sz="1200">
                <a:solidFill>
                  <a:srgbClr val="575757"/>
                </a:solidFill>
              </a:rPr>
              <a:t> and </a:t>
            </a:r>
            <a:r>
              <a:rPr lang="de-DE" sz="1200" err="1">
                <a:solidFill>
                  <a:srgbClr val="575757"/>
                </a:solidFill>
              </a:rPr>
              <a:t>collapsing</a:t>
            </a:r>
            <a:r>
              <a:rPr lang="de-DE" sz="1200">
                <a:solidFill>
                  <a:srgbClr val="575757"/>
                </a:solidFill>
              </a:rPr>
              <a:t> </a:t>
            </a:r>
            <a:r>
              <a:rPr lang="de-DE" sz="1200" err="1">
                <a:solidFill>
                  <a:srgbClr val="575757"/>
                </a:solidFill>
              </a:rPr>
              <a:t>waste</a:t>
            </a:r>
            <a:r>
              <a:rPr lang="de-DE" sz="1200">
                <a:solidFill>
                  <a:srgbClr val="575757"/>
                </a:solidFill>
              </a:rPr>
              <a:t> </a:t>
            </a:r>
            <a:r>
              <a:rPr lang="de-DE" sz="1200" err="1">
                <a:solidFill>
                  <a:srgbClr val="575757"/>
                </a:solidFill>
              </a:rPr>
              <a:t>towers</a:t>
            </a:r>
            <a:r>
              <a:rPr lang="de-DE" sz="1200">
                <a:solidFill>
                  <a:srgbClr val="575757"/>
                </a:solidFill>
              </a:rPr>
              <a:t> </a:t>
            </a:r>
          </a:p>
          <a:p>
            <a:pPr lvl="1"/>
            <a:endParaRPr lang="de-DE" sz="1200">
              <a:solidFill>
                <a:srgbClr val="575757"/>
              </a:solidFill>
            </a:endParaRPr>
          </a:p>
          <a:p>
            <a:pPr marL="800100" lvl="1" indent="-342900">
              <a:buFont typeface="Courier New"/>
              <a:buChar char="o"/>
            </a:pPr>
            <a:endParaRPr lang="de-DE" sz="1200">
              <a:solidFill>
                <a:srgbClr val="575757"/>
              </a:solidFill>
            </a:endParaRPr>
          </a:p>
        </p:txBody>
      </p:sp>
      <p:sp>
        <p:nvSpPr>
          <p:cNvPr id="16" name="Pfeil: nach rechts 15">
            <a:extLst>
              <a:ext uri="{FF2B5EF4-FFF2-40B4-BE49-F238E27FC236}">
                <a16:creationId xmlns:a16="http://schemas.microsoft.com/office/drawing/2014/main" id="{37FB9AC7-0220-4F95-8283-AFEF720B3CD6}"/>
              </a:ext>
            </a:extLst>
          </p:cNvPr>
          <p:cNvSpPr/>
          <p:nvPr/>
        </p:nvSpPr>
        <p:spPr>
          <a:xfrm>
            <a:off x="5476898" y="4624664"/>
            <a:ext cx="1008668" cy="537328"/>
          </a:xfrm>
          <a:prstGeom prst="rightArrow">
            <a:avLst/>
          </a:prstGeom>
          <a:solidFill>
            <a:srgbClr val="0C8C7A"/>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pic>
        <p:nvPicPr>
          <p:cNvPr id="10" name="Grafik 14">
            <a:extLst>
              <a:ext uri="{FF2B5EF4-FFF2-40B4-BE49-F238E27FC236}">
                <a16:creationId xmlns:a16="http://schemas.microsoft.com/office/drawing/2014/main" id="{B2FEC1B5-FBA2-4C54-BEEC-5600D778CB9F}"/>
              </a:ext>
            </a:extLst>
          </p:cNvPr>
          <p:cNvPicPr>
            <a:picLocks noChangeAspect="1"/>
          </p:cNvPicPr>
          <p:nvPr/>
        </p:nvPicPr>
        <p:blipFill>
          <a:blip r:embed="rId4"/>
          <a:stretch>
            <a:fillRect/>
          </a:stretch>
        </p:blipFill>
        <p:spPr>
          <a:xfrm>
            <a:off x="6699930" y="4449491"/>
            <a:ext cx="4336783" cy="1763804"/>
          </a:xfrm>
          <a:prstGeom prst="rect">
            <a:avLst/>
          </a:prstGeom>
        </p:spPr>
      </p:pic>
      <p:pic>
        <p:nvPicPr>
          <p:cNvPr id="18" name="Grafik 18">
            <a:extLst>
              <a:ext uri="{FF2B5EF4-FFF2-40B4-BE49-F238E27FC236}">
                <a16:creationId xmlns:a16="http://schemas.microsoft.com/office/drawing/2014/main" id="{3D9AB8E2-FE41-441B-8371-77613DDB8F88}"/>
              </a:ext>
            </a:extLst>
          </p:cNvPr>
          <p:cNvPicPr>
            <a:picLocks noChangeAspect="1"/>
          </p:cNvPicPr>
          <p:nvPr/>
        </p:nvPicPr>
        <p:blipFill>
          <a:blip r:embed="rId5"/>
          <a:stretch>
            <a:fillRect/>
          </a:stretch>
        </p:blipFill>
        <p:spPr>
          <a:xfrm>
            <a:off x="928746" y="4457539"/>
            <a:ext cx="3871854" cy="1750204"/>
          </a:xfrm>
          <a:prstGeom prst="rect">
            <a:avLst/>
          </a:prstGeom>
        </p:spPr>
      </p:pic>
    </p:spTree>
    <p:extLst>
      <p:ext uri="{BB962C8B-B14F-4D97-AF65-F5344CB8AC3E}">
        <p14:creationId xmlns:p14="http://schemas.microsoft.com/office/powerpoint/2010/main" val="84477617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19B9B-9193-4140-874C-B30196EB1CEF}"/>
              </a:ext>
            </a:extLst>
          </p:cNvPr>
          <p:cNvSpPr>
            <a:spLocks noGrp="1"/>
          </p:cNvSpPr>
          <p:nvPr>
            <p:ph type="title"/>
          </p:nvPr>
        </p:nvSpPr>
        <p:spPr/>
        <p:txBody>
          <a:bodyPr/>
          <a:lstStyle/>
          <a:p>
            <a:r>
              <a:rPr lang="en-GB"/>
              <a:t>Inclusion of External Data.</a:t>
            </a:r>
            <a:endParaRPr lang="LID4096"/>
          </a:p>
        </p:txBody>
      </p:sp>
      <p:graphicFrame>
        <p:nvGraphicFramePr>
          <p:cNvPr id="12" name="Diagramm 11">
            <a:extLst>
              <a:ext uri="{FF2B5EF4-FFF2-40B4-BE49-F238E27FC236}">
                <a16:creationId xmlns:a16="http://schemas.microsoft.com/office/drawing/2014/main" id="{4F6FDEEF-060C-4285-A422-7EDF2FD14D0F}"/>
              </a:ext>
            </a:extLst>
          </p:cNvPr>
          <p:cNvGraphicFramePr/>
          <p:nvPr>
            <p:extLst>
              <p:ext uri="{D42A27DB-BD31-4B8C-83A1-F6EECF244321}">
                <p14:modId xmlns:p14="http://schemas.microsoft.com/office/powerpoint/2010/main" val="1332711383"/>
              </p:ext>
            </p:extLst>
          </p:nvPr>
        </p:nvGraphicFramePr>
        <p:xfrm>
          <a:off x="629399" y="2085628"/>
          <a:ext cx="10933801" cy="40891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4" name="Grafik 13">
            <a:extLst>
              <a:ext uri="{FF2B5EF4-FFF2-40B4-BE49-F238E27FC236}">
                <a16:creationId xmlns:a16="http://schemas.microsoft.com/office/drawing/2014/main" id="{B9C350B1-09CC-44C2-9360-E623FE503A5A}"/>
              </a:ext>
            </a:extLst>
          </p:cNvPr>
          <p:cNvPicPr>
            <a:picLocks noChangeAspect="1"/>
          </p:cNvPicPr>
          <p:nvPr/>
        </p:nvPicPr>
        <p:blipFill>
          <a:blip r:embed="rId8"/>
          <a:stretch>
            <a:fillRect/>
          </a:stretch>
        </p:blipFill>
        <p:spPr>
          <a:xfrm>
            <a:off x="156637" y="4046483"/>
            <a:ext cx="4040730" cy="771727"/>
          </a:xfrm>
          <a:prstGeom prst="rect">
            <a:avLst/>
          </a:prstGeom>
        </p:spPr>
      </p:pic>
      <p:pic>
        <p:nvPicPr>
          <p:cNvPr id="20" name="Grafik 19">
            <a:extLst>
              <a:ext uri="{FF2B5EF4-FFF2-40B4-BE49-F238E27FC236}">
                <a16:creationId xmlns:a16="http://schemas.microsoft.com/office/drawing/2014/main" id="{460D88A4-9B6B-4307-9925-0CE8A3FBEF5E}"/>
              </a:ext>
            </a:extLst>
          </p:cNvPr>
          <p:cNvPicPr>
            <a:picLocks noChangeAspect="1"/>
          </p:cNvPicPr>
          <p:nvPr/>
        </p:nvPicPr>
        <p:blipFill>
          <a:blip r:embed="rId9"/>
          <a:stretch>
            <a:fillRect/>
          </a:stretch>
        </p:blipFill>
        <p:spPr>
          <a:xfrm>
            <a:off x="3993502" y="1699764"/>
            <a:ext cx="3957237" cy="771727"/>
          </a:xfrm>
          <a:prstGeom prst="rect">
            <a:avLst/>
          </a:prstGeom>
        </p:spPr>
      </p:pic>
      <p:pic>
        <p:nvPicPr>
          <p:cNvPr id="22" name="Grafik 21">
            <a:extLst>
              <a:ext uri="{FF2B5EF4-FFF2-40B4-BE49-F238E27FC236}">
                <a16:creationId xmlns:a16="http://schemas.microsoft.com/office/drawing/2014/main" id="{A9A8660D-1491-42A6-BDBF-9CD40C9B7769}"/>
              </a:ext>
            </a:extLst>
          </p:cNvPr>
          <p:cNvPicPr>
            <a:picLocks noChangeAspect="1"/>
          </p:cNvPicPr>
          <p:nvPr/>
        </p:nvPicPr>
        <p:blipFill>
          <a:blip r:embed="rId10"/>
          <a:stretch>
            <a:fillRect/>
          </a:stretch>
        </p:blipFill>
        <p:spPr>
          <a:xfrm>
            <a:off x="8105059" y="3971861"/>
            <a:ext cx="3743230" cy="845872"/>
          </a:xfrm>
          <a:prstGeom prst="rect">
            <a:avLst/>
          </a:prstGeom>
        </p:spPr>
      </p:pic>
      <p:pic>
        <p:nvPicPr>
          <p:cNvPr id="32" name="Grafik 31" descr="Datenbank mit einfarbiger Füllung">
            <a:extLst>
              <a:ext uri="{FF2B5EF4-FFF2-40B4-BE49-F238E27FC236}">
                <a16:creationId xmlns:a16="http://schemas.microsoft.com/office/drawing/2014/main" id="{F617933E-BF53-45F1-8547-364C33B1D96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67674" y="3722843"/>
            <a:ext cx="1538592" cy="1538592"/>
          </a:xfrm>
          <a:prstGeom prst="rect">
            <a:avLst/>
          </a:prstGeom>
        </p:spPr>
      </p:pic>
      <p:sp>
        <p:nvSpPr>
          <p:cNvPr id="33" name="Pfeil: nach rechts 32">
            <a:extLst>
              <a:ext uri="{FF2B5EF4-FFF2-40B4-BE49-F238E27FC236}">
                <a16:creationId xmlns:a16="http://schemas.microsoft.com/office/drawing/2014/main" id="{44050EF5-6268-4DF2-A207-1CD5DC6A65C7}"/>
              </a:ext>
            </a:extLst>
          </p:cNvPr>
          <p:cNvSpPr/>
          <p:nvPr/>
        </p:nvSpPr>
        <p:spPr>
          <a:xfrm>
            <a:off x="4383271" y="4244860"/>
            <a:ext cx="904369" cy="374974"/>
          </a:xfrm>
          <a:prstGeom prst="rightArrow">
            <a:avLst/>
          </a:prstGeom>
          <a:solidFill>
            <a:srgbClr val="0C8C7A"/>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37" name="Pfeil: nach rechts 36">
            <a:extLst>
              <a:ext uri="{FF2B5EF4-FFF2-40B4-BE49-F238E27FC236}">
                <a16:creationId xmlns:a16="http://schemas.microsoft.com/office/drawing/2014/main" id="{0E076EFD-08EE-4CE2-AB65-3AF2EC646539}"/>
              </a:ext>
            </a:extLst>
          </p:cNvPr>
          <p:cNvSpPr/>
          <p:nvPr/>
        </p:nvSpPr>
        <p:spPr>
          <a:xfrm rot="10800000">
            <a:off x="6953743" y="4207310"/>
            <a:ext cx="904369" cy="374974"/>
          </a:xfrm>
          <a:prstGeom prst="rightArrow">
            <a:avLst/>
          </a:prstGeom>
          <a:solidFill>
            <a:srgbClr val="0C8C7A"/>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38" name="Pfeil: nach rechts 37">
            <a:extLst>
              <a:ext uri="{FF2B5EF4-FFF2-40B4-BE49-F238E27FC236}">
                <a16:creationId xmlns:a16="http://schemas.microsoft.com/office/drawing/2014/main" id="{3AAB4D6E-0EA5-4C2F-807D-5BE19353F461}"/>
              </a:ext>
            </a:extLst>
          </p:cNvPr>
          <p:cNvSpPr/>
          <p:nvPr/>
        </p:nvSpPr>
        <p:spPr>
          <a:xfrm rot="5400000">
            <a:off x="5584786" y="2941185"/>
            <a:ext cx="904369" cy="374974"/>
          </a:xfrm>
          <a:prstGeom prst="rightArrow">
            <a:avLst/>
          </a:prstGeom>
          <a:solidFill>
            <a:srgbClr val="0C8C7A"/>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Tree>
    <p:extLst>
      <p:ext uri="{BB962C8B-B14F-4D97-AF65-F5344CB8AC3E}">
        <p14:creationId xmlns:p14="http://schemas.microsoft.com/office/powerpoint/2010/main" val="427627055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19B9B-9193-4140-874C-B30196EB1CEF}"/>
              </a:ext>
            </a:extLst>
          </p:cNvPr>
          <p:cNvSpPr>
            <a:spLocks noGrp="1"/>
          </p:cNvSpPr>
          <p:nvPr>
            <p:ph type="title"/>
          </p:nvPr>
        </p:nvSpPr>
        <p:spPr>
          <a:xfrm>
            <a:off x="630000" y="622800"/>
            <a:ext cx="10933200" cy="470898"/>
          </a:xfrm>
        </p:spPr>
        <p:txBody>
          <a:bodyPr/>
          <a:lstStyle/>
          <a:p>
            <a:r>
              <a:rPr lang="en-GB"/>
              <a:t>Data Cleaning.</a:t>
            </a:r>
            <a:endParaRPr lang="LID4096"/>
          </a:p>
        </p:txBody>
      </p:sp>
      <p:sp>
        <p:nvSpPr>
          <p:cNvPr id="7" name="Rechteck 6">
            <a:extLst>
              <a:ext uri="{FF2B5EF4-FFF2-40B4-BE49-F238E27FC236}">
                <a16:creationId xmlns:a16="http://schemas.microsoft.com/office/drawing/2014/main" id="{B4EFE8CF-978D-4AC4-BFBD-B4FFF20FC573}"/>
              </a:ext>
            </a:extLst>
          </p:cNvPr>
          <p:cNvSpPr/>
          <p:nvPr/>
        </p:nvSpPr>
        <p:spPr>
          <a:xfrm>
            <a:off x="630000" y="1093698"/>
            <a:ext cx="10654273" cy="5279393"/>
          </a:xfrm>
          <a:prstGeom prst="rect">
            <a:avLst/>
          </a:prstGeom>
          <a:noFill/>
          <a:ln w="28575" cap="rnd" cmpd="sng" algn="ctr">
            <a:solidFill>
              <a:srgbClr val="00968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pic>
        <p:nvPicPr>
          <p:cNvPr id="11" name="Picture 2">
            <a:extLst>
              <a:ext uri="{FF2B5EF4-FFF2-40B4-BE49-F238E27FC236}">
                <a16:creationId xmlns:a16="http://schemas.microsoft.com/office/drawing/2014/main" id="{9B3B3A9A-5A90-4474-8311-0A5B0A1EA3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5868" y="1093698"/>
            <a:ext cx="3951655" cy="261336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27BC7451-9A90-4D50-9F24-81911F8D47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89739" y="1093698"/>
            <a:ext cx="3951655" cy="2613361"/>
          </a:xfrm>
          <a:prstGeom prst="rect">
            <a:avLst/>
          </a:prstGeom>
          <a:noFill/>
          <a:extLst>
            <a:ext uri="{909E8E84-426E-40DD-AFC4-6F175D3DCCD1}">
              <a14:hiddenFill xmlns:a14="http://schemas.microsoft.com/office/drawing/2010/main">
                <a:solidFill>
                  <a:srgbClr val="FFFFFF"/>
                </a:solidFill>
              </a14:hiddenFill>
            </a:ext>
          </a:extLst>
        </p:spPr>
      </p:pic>
      <p:sp>
        <p:nvSpPr>
          <p:cNvPr id="3" name="Pfeil: nach rechts 2">
            <a:extLst>
              <a:ext uri="{FF2B5EF4-FFF2-40B4-BE49-F238E27FC236}">
                <a16:creationId xmlns:a16="http://schemas.microsoft.com/office/drawing/2014/main" id="{00276F7D-3A4B-44E6-85FA-665B7BF0E49D}"/>
              </a:ext>
            </a:extLst>
          </p:cNvPr>
          <p:cNvSpPr/>
          <p:nvPr/>
        </p:nvSpPr>
        <p:spPr>
          <a:xfrm>
            <a:off x="5228293" y="2043416"/>
            <a:ext cx="1008668" cy="537328"/>
          </a:xfrm>
          <a:prstGeom prst="rightArrow">
            <a:avLst/>
          </a:prstGeom>
          <a:solidFill>
            <a:srgbClr val="0C8C7A"/>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0C8C7A"/>
              </a:solidFill>
            </a:endParaRPr>
          </a:p>
        </p:txBody>
      </p:sp>
      <p:pic>
        <p:nvPicPr>
          <p:cNvPr id="13" name="Picture 6">
            <a:extLst>
              <a:ext uri="{FF2B5EF4-FFF2-40B4-BE49-F238E27FC236}">
                <a16:creationId xmlns:a16="http://schemas.microsoft.com/office/drawing/2014/main" id="{DC1A463D-A4DA-4A1A-85A9-6B764A14662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8800" y="3807518"/>
            <a:ext cx="4097276" cy="261214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a:extLst>
              <a:ext uri="{FF2B5EF4-FFF2-40B4-BE49-F238E27FC236}">
                <a16:creationId xmlns:a16="http://schemas.microsoft.com/office/drawing/2014/main" id="{52BF610D-A15E-4468-8267-BFACB1E2E26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4800" y="3715526"/>
            <a:ext cx="4156594" cy="2636407"/>
          </a:xfrm>
          <a:prstGeom prst="rect">
            <a:avLst/>
          </a:prstGeom>
          <a:noFill/>
          <a:extLst>
            <a:ext uri="{909E8E84-426E-40DD-AFC4-6F175D3DCCD1}">
              <a14:hiddenFill xmlns:a14="http://schemas.microsoft.com/office/drawing/2010/main">
                <a:solidFill>
                  <a:srgbClr val="FFFFFF"/>
                </a:solidFill>
              </a14:hiddenFill>
            </a:ext>
          </a:extLst>
        </p:spPr>
      </p:pic>
      <p:sp>
        <p:nvSpPr>
          <p:cNvPr id="15" name="Pfeil: nach rechts 14">
            <a:extLst>
              <a:ext uri="{FF2B5EF4-FFF2-40B4-BE49-F238E27FC236}">
                <a16:creationId xmlns:a16="http://schemas.microsoft.com/office/drawing/2014/main" id="{FB767A73-73EC-4C21-9AC6-FE81CBE6926E}"/>
              </a:ext>
            </a:extLst>
          </p:cNvPr>
          <p:cNvSpPr/>
          <p:nvPr/>
        </p:nvSpPr>
        <p:spPr>
          <a:xfrm>
            <a:off x="5276631" y="4656212"/>
            <a:ext cx="1008668" cy="537328"/>
          </a:xfrm>
          <a:prstGeom prst="rightArrow">
            <a:avLst/>
          </a:prstGeom>
          <a:solidFill>
            <a:srgbClr val="0C8C7A"/>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4" name="Textfeld 3">
            <a:extLst>
              <a:ext uri="{FF2B5EF4-FFF2-40B4-BE49-F238E27FC236}">
                <a16:creationId xmlns:a16="http://schemas.microsoft.com/office/drawing/2014/main" id="{CD7AEF02-413C-4345-A1C1-1E1EDC905CC2}"/>
              </a:ext>
            </a:extLst>
          </p:cNvPr>
          <p:cNvSpPr txBox="1"/>
          <p:nvPr/>
        </p:nvSpPr>
        <p:spPr>
          <a:xfrm rot="16200000">
            <a:off x="115693" y="2082921"/>
            <a:ext cx="1161774" cy="422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rgbClr val="575757"/>
                </a:solidFill>
              </a:rPr>
              <a:t>Height in cm</a:t>
            </a:r>
          </a:p>
        </p:txBody>
      </p:sp>
      <p:sp>
        <p:nvSpPr>
          <p:cNvPr id="16" name="Textfeld 15">
            <a:extLst>
              <a:ext uri="{FF2B5EF4-FFF2-40B4-BE49-F238E27FC236}">
                <a16:creationId xmlns:a16="http://schemas.microsoft.com/office/drawing/2014/main" id="{499A72F5-8C8F-4B3A-AAEE-66029CBB7B34}"/>
              </a:ext>
            </a:extLst>
          </p:cNvPr>
          <p:cNvSpPr txBox="1"/>
          <p:nvPr/>
        </p:nvSpPr>
        <p:spPr>
          <a:xfrm rot="16200000">
            <a:off x="6518303" y="2082921"/>
            <a:ext cx="1161774" cy="422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rgbClr val="575757"/>
                </a:solidFill>
              </a:rPr>
              <a:t>Height in cm</a:t>
            </a:r>
          </a:p>
        </p:txBody>
      </p:sp>
    </p:spTree>
    <p:extLst>
      <p:ext uri="{BB962C8B-B14F-4D97-AF65-F5344CB8AC3E}">
        <p14:creationId xmlns:p14="http://schemas.microsoft.com/office/powerpoint/2010/main" val="22765009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19B9B-9193-4140-874C-B30196EB1CEF}"/>
              </a:ext>
            </a:extLst>
          </p:cNvPr>
          <p:cNvSpPr>
            <a:spLocks noGrp="1"/>
          </p:cNvSpPr>
          <p:nvPr>
            <p:ph type="title"/>
          </p:nvPr>
        </p:nvSpPr>
        <p:spPr>
          <a:xfrm>
            <a:off x="630000" y="622800"/>
            <a:ext cx="10933200" cy="470898"/>
          </a:xfrm>
        </p:spPr>
        <p:txBody>
          <a:bodyPr/>
          <a:lstStyle/>
          <a:p>
            <a:r>
              <a:rPr lang="en-GB"/>
              <a:t>Two-Track Approach.</a:t>
            </a:r>
            <a:endParaRPr lang="LID4096"/>
          </a:p>
        </p:txBody>
      </p:sp>
      <p:sp>
        <p:nvSpPr>
          <p:cNvPr id="4" name="Textfeld 3">
            <a:extLst>
              <a:ext uri="{FF2B5EF4-FFF2-40B4-BE49-F238E27FC236}">
                <a16:creationId xmlns:a16="http://schemas.microsoft.com/office/drawing/2014/main" id="{7B0AD8EB-13EB-4FA5-BF32-71B941A2BAB0}"/>
              </a:ext>
            </a:extLst>
          </p:cNvPr>
          <p:cNvSpPr txBox="1"/>
          <p:nvPr/>
        </p:nvSpPr>
        <p:spPr>
          <a:xfrm>
            <a:off x="971865" y="1575497"/>
            <a:ext cx="4298224"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de-DE" sz="2400">
                <a:solidFill>
                  <a:srgbClr val="575757"/>
                </a:solidFill>
              </a:rPr>
              <a:t>Fine-</a:t>
            </a:r>
            <a:r>
              <a:rPr lang="de-DE" sz="2400" err="1">
                <a:solidFill>
                  <a:srgbClr val="575757"/>
                </a:solidFill>
              </a:rPr>
              <a:t>grained</a:t>
            </a:r>
            <a:r>
              <a:rPr lang="de-DE" sz="2400">
                <a:solidFill>
                  <a:srgbClr val="575757"/>
                </a:solidFill>
              </a:rPr>
              <a:t> (original </a:t>
            </a:r>
            <a:r>
              <a:rPr lang="de-DE" sz="2400" err="1">
                <a:solidFill>
                  <a:srgbClr val="575757"/>
                </a:solidFill>
              </a:rPr>
              <a:t>data</a:t>
            </a:r>
            <a:r>
              <a:rPr lang="de-DE" sz="2400">
                <a:solidFill>
                  <a:srgbClr val="575757"/>
                </a:solidFill>
              </a:rPr>
              <a:t>)</a:t>
            </a:r>
          </a:p>
          <a:p>
            <a:pPr algn="ctr"/>
            <a:r>
              <a:rPr lang="de-DE" sz="2400" err="1">
                <a:solidFill>
                  <a:srgbClr val="575757"/>
                </a:solidFill>
              </a:rPr>
              <a:t>hourly</a:t>
            </a:r>
            <a:endParaRPr lang="de-DE" sz="2400">
              <a:solidFill>
                <a:srgbClr val="575757"/>
              </a:solidFill>
            </a:endParaRPr>
          </a:p>
        </p:txBody>
      </p:sp>
      <p:sp>
        <p:nvSpPr>
          <p:cNvPr id="5" name="Textfeld 4">
            <a:extLst>
              <a:ext uri="{FF2B5EF4-FFF2-40B4-BE49-F238E27FC236}">
                <a16:creationId xmlns:a16="http://schemas.microsoft.com/office/drawing/2014/main" id="{3A7C4E0F-8298-4859-B429-ECFB6137AE8E}"/>
              </a:ext>
            </a:extLst>
          </p:cNvPr>
          <p:cNvSpPr txBox="1"/>
          <p:nvPr/>
        </p:nvSpPr>
        <p:spPr>
          <a:xfrm>
            <a:off x="6575753" y="1575496"/>
            <a:ext cx="4670323"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de-DE" sz="2400" err="1">
                <a:solidFill>
                  <a:srgbClr val="575757"/>
                </a:solidFill>
              </a:rPr>
              <a:t>Coarse-grained</a:t>
            </a:r>
            <a:endParaRPr lang="de-DE" sz="2400">
              <a:solidFill>
                <a:srgbClr val="575757"/>
              </a:solidFill>
            </a:endParaRPr>
          </a:p>
          <a:p>
            <a:pPr algn="ctr"/>
            <a:r>
              <a:rPr lang="de-DE" sz="2400" err="1">
                <a:solidFill>
                  <a:srgbClr val="575757"/>
                </a:solidFill>
              </a:rPr>
              <a:t>daily</a:t>
            </a:r>
            <a:endParaRPr lang="de-DE" sz="2400">
              <a:solidFill>
                <a:srgbClr val="575757"/>
              </a:solidFill>
            </a:endParaRPr>
          </a:p>
        </p:txBody>
      </p:sp>
      <p:sp>
        <p:nvSpPr>
          <p:cNvPr id="6" name="Rechteck 5">
            <a:extLst>
              <a:ext uri="{FF2B5EF4-FFF2-40B4-BE49-F238E27FC236}">
                <a16:creationId xmlns:a16="http://schemas.microsoft.com/office/drawing/2014/main" id="{2FC34CC8-B682-47FE-A7F7-AB8ACA43017E}"/>
              </a:ext>
            </a:extLst>
          </p:cNvPr>
          <p:cNvSpPr/>
          <p:nvPr/>
        </p:nvSpPr>
        <p:spPr>
          <a:xfrm>
            <a:off x="638168" y="1418162"/>
            <a:ext cx="10654273" cy="5279393"/>
          </a:xfrm>
          <a:prstGeom prst="rect">
            <a:avLst/>
          </a:prstGeom>
          <a:noFill/>
          <a:ln w="28575" cap="rnd" cmpd="sng" algn="ctr">
            <a:solidFill>
              <a:srgbClr val="00968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10" name="Pfeil: nach rechts 9">
            <a:extLst>
              <a:ext uri="{FF2B5EF4-FFF2-40B4-BE49-F238E27FC236}">
                <a16:creationId xmlns:a16="http://schemas.microsoft.com/office/drawing/2014/main" id="{D1FC23B4-89CB-4A7F-B6F7-06195BAA6F31}"/>
              </a:ext>
            </a:extLst>
          </p:cNvPr>
          <p:cNvSpPr/>
          <p:nvPr/>
        </p:nvSpPr>
        <p:spPr>
          <a:xfrm>
            <a:off x="5508092" y="3138213"/>
            <a:ext cx="1008668" cy="537328"/>
          </a:xfrm>
          <a:prstGeom prst="rightArrow">
            <a:avLst/>
          </a:prstGeom>
          <a:solidFill>
            <a:srgbClr val="0C8C7A"/>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err="1">
                <a:solidFill>
                  <a:schemeClr val="bg1"/>
                </a:solidFill>
              </a:rPr>
              <a:t>aggregate</a:t>
            </a:r>
            <a:endParaRPr lang="de-DE" sz="1200">
              <a:solidFill>
                <a:schemeClr val="bg1"/>
              </a:solidFill>
            </a:endParaRPr>
          </a:p>
        </p:txBody>
      </p:sp>
      <p:sp>
        <p:nvSpPr>
          <p:cNvPr id="11" name="Pfeil: nach rechts 10">
            <a:extLst>
              <a:ext uri="{FF2B5EF4-FFF2-40B4-BE49-F238E27FC236}">
                <a16:creationId xmlns:a16="http://schemas.microsoft.com/office/drawing/2014/main" id="{DF72181A-E6BB-466A-BF5E-99AB5B6D9D18}"/>
              </a:ext>
            </a:extLst>
          </p:cNvPr>
          <p:cNvSpPr/>
          <p:nvPr/>
        </p:nvSpPr>
        <p:spPr>
          <a:xfrm>
            <a:off x="5508092" y="5211353"/>
            <a:ext cx="1008668" cy="537328"/>
          </a:xfrm>
          <a:prstGeom prst="rightArrow">
            <a:avLst/>
          </a:prstGeom>
          <a:solidFill>
            <a:srgbClr val="0C8C7A"/>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err="1">
                <a:solidFill>
                  <a:schemeClr val="bg1"/>
                </a:solidFill>
              </a:rPr>
              <a:t>aggregate</a:t>
            </a:r>
            <a:endParaRPr lang="de-DE" sz="1200">
              <a:solidFill>
                <a:schemeClr val="bg1"/>
              </a:solidFill>
            </a:endParaRPr>
          </a:p>
        </p:txBody>
      </p:sp>
      <p:pic>
        <p:nvPicPr>
          <p:cNvPr id="15" name="Grafik 15">
            <a:extLst>
              <a:ext uri="{FF2B5EF4-FFF2-40B4-BE49-F238E27FC236}">
                <a16:creationId xmlns:a16="http://schemas.microsoft.com/office/drawing/2014/main" id="{5D0FE6A8-BD2F-4178-9B68-8DA60F851C48}"/>
              </a:ext>
            </a:extLst>
          </p:cNvPr>
          <p:cNvPicPr>
            <a:picLocks noChangeAspect="1"/>
          </p:cNvPicPr>
          <p:nvPr/>
        </p:nvPicPr>
        <p:blipFill>
          <a:blip r:embed="rId3"/>
          <a:stretch>
            <a:fillRect/>
          </a:stretch>
        </p:blipFill>
        <p:spPr>
          <a:xfrm>
            <a:off x="6575753" y="2382354"/>
            <a:ext cx="4603233" cy="2091011"/>
          </a:xfrm>
          <a:prstGeom prst="rect">
            <a:avLst/>
          </a:prstGeom>
        </p:spPr>
      </p:pic>
      <p:pic>
        <p:nvPicPr>
          <p:cNvPr id="16" name="Grafik 16" descr="Ein Bild, das Text, Antenne enthält.&#10;&#10;Beschreibung automatisch generiert.">
            <a:extLst>
              <a:ext uri="{FF2B5EF4-FFF2-40B4-BE49-F238E27FC236}">
                <a16:creationId xmlns:a16="http://schemas.microsoft.com/office/drawing/2014/main" id="{A9F81E58-3A41-4B4C-B3A8-7991FA973722}"/>
              </a:ext>
            </a:extLst>
          </p:cNvPr>
          <p:cNvPicPr>
            <a:picLocks noChangeAspect="1"/>
          </p:cNvPicPr>
          <p:nvPr/>
        </p:nvPicPr>
        <p:blipFill>
          <a:blip r:embed="rId4"/>
          <a:stretch>
            <a:fillRect/>
          </a:stretch>
        </p:blipFill>
        <p:spPr>
          <a:xfrm>
            <a:off x="6516760" y="4479633"/>
            <a:ext cx="4662226" cy="2087117"/>
          </a:xfrm>
          <a:prstGeom prst="rect">
            <a:avLst/>
          </a:prstGeom>
        </p:spPr>
      </p:pic>
      <p:pic>
        <p:nvPicPr>
          <p:cNvPr id="12" name="Grafik 16" descr="Ein Bild, das Glockenspiel enthält.&#10;&#10;Beschreibung automatisch generiert.">
            <a:extLst>
              <a:ext uri="{FF2B5EF4-FFF2-40B4-BE49-F238E27FC236}">
                <a16:creationId xmlns:a16="http://schemas.microsoft.com/office/drawing/2014/main" id="{F8278339-AB1A-43FF-BB7E-55A91ED27501}"/>
              </a:ext>
            </a:extLst>
          </p:cNvPr>
          <p:cNvPicPr>
            <a:picLocks noChangeAspect="1"/>
          </p:cNvPicPr>
          <p:nvPr/>
        </p:nvPicPr>
        <p:blipFill>
          <a:blip r:embed="rId5"/>
          <a:stretch>
            <a:fillRect/>
          </a:stretch>
        </p:blipFill>
        <p:spPr>
          <a:xfrm>
            <a:off x="736600" y="4525083"/>
            <a:ext cx="4622800" cy="1990369"/>
          </a:xfrm>
          <a:prstGeom prst="rect">
            <a:avLst/>
          </a:prstGeom>
        </p:spPr>
      </p:pic>
      <p:pic>
        <p:nvPicPr>
          <p:cNvPr id="17" name="Grafik 17">
            <a:extLst>
              <a:ext uri="{FF2B5EF4-FFF2-40B4-BE49-F238E27FC236}">
                <a16:creationId xmlns:a16="http://schemas.microsoft.com/office/drawing/2014/main" id="{C1F1FBE8-DCCA-44D4-9823-9CAAE15E3BEE}"/>
              </a:ext>
            </a:extLst>
          </p:cNvPr>
          <p:cNvPicPr>
            <a:picLocks noChangeAspect="1"/>
          </p:cNvPicPr>
          <p:nvPr/>
        </p:nvPicPr>
        <p:blipFill>
          <a:blip r:embed="rId6"/>
          <a:stretch>
            <a:fillRect/>
          </a:stretch>
        </p:blipFill>
        <p:spPr>
          <a:xfrm>
            <a:off x="736601" y="2464795"/>
            <a:ext cx="4622799" cy="1928407"/>
          </a:xfrm>
          <a:prstGeom prst="rect">
            <a:avLst/>
          </a:prstGeom>
        </p:spPr>
      </p:pic>
    </p:spTree>
    <p:extLst>
      <p:ext uri="{BB962C8B-B14F-4D97-AF65-F5344CB8AC3E}">
        <p14:creationId xmlns:p14="http://schemas.microsoft.com/office/powerpoint/2010/main" val="302410758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40D52-CAF7-46D5-9BE7-77616DCDC369}"/>
              </a:ext>
            </a:extLst>
          </p:cNvPr>
          <p:cNvSpPr>
            <a:spLocks noGrp="1"/>
          </p:cNvSpPr>
          <p:nvPr>
            <p:ph type="title"/>
          </p:nvPr>
        </p:nvSpPr>
        <p:spPr>
          <a:xfrm>
            <a:off x="630000" y="622800"/>
            <a:ext cx="3127881" cy="1495794"/>
          </a:xfrm>
        </p:spPr>
        <p:txBody>
          <a:bodyPr anchor="t"/>
          <a:lstStyle/>
          <a:p>
            <a:r>
              <a:rPr lang="en-US" sz="4800"/>
              <a:t>3 </a:t>
            </a:r>
            <a:br>
              <a:rPr lang="en-US" sz="4800"/>
            </a:br>
            <a:r>
              <a:rPr lang="en-US" sz="4800"/>
              <a:t>Model</a:t>
            </a:r>
          </a:p>
        </p:txBody>
      </p:sp>
      <p:sp>
        <p:nvSpPr>
          <p:cNvPr id="4" name="Title 1">
            <a:extLst>
              <a:ext uri="{FF2B5EF4-FFF2-40B4-BE49-F238E27FC236}">
                <a16:creationId xmlns:a16="http://schemas.microsoft.com/office/drawing/2014/main" id="{AE84365F-945A-4B25-BB47-3C21A70520BB}"/>
              </a:ext>
            </a:extLst>
          </p:cNvPr>
          <p:cNvSpPr txBox="1">
            <a:spLocks/>
          </p:cNvSpPr>
          <p:nvPr/>
        </p:nvSpPr>
        <p:spPr>
          <a:xfrm>
            <a:off x="4500979" y="622799"/>
            <a:ext cx="7061021" cy="941795"/>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endParaRPr lang="en-US">
              <a:solidFill>
                <a:srgbClr val="009682"/>
              </a:solidFill>
            </a:endParaRPr>
          </a:p>
        </p:txBody>
      </p:sp>
      <p:sp>
        <p:nvSpPr>
          <p:cNvPr id="27" name="Textfeld 26">
            <a:extLst>
              <a:ext uri="{FF2B5EF4-FFF2-40B4-BE49-F238E27FC236}">
                <a16:creationId xmlns:a16="http://schemas.microsoft.com/office/drawing/2014/main" id="{BFE28822-2483-EC44-90BE-03040373488F}"/>
              </a:ext>
            </a:extLst>
          </p:cNvPr>
          <p:cNvSpPr txBox="1"/>
          <p:nvPr/>
        </p:nvSpPr>
        <p:spPr>
          <a:xfrm>
            <a:off x="1989438" y="22489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3" name="Textfeld 2">
            <a:extLst>
              <a:ext uri="{FF2B5EF4-FFF2-40B4-BE49-F238E27FC236}">
                <a16:creationId xmlns:a16="http://schemas.microsoft.com/office/drawing/2014/main" id="{9F2B3879-10C4-40EB-9855-3717B67BFD7C}"/>
              </a:ext>
            </a:extLst>
          </p:cNvPr>
          <p:cNvSpPr txBox="1"/>
          <p:nvPr/>
        </p:nvSpPr>
        <p:spPr>
          <a:xfrm>
            <a:off x="5506497" y="622799"/>
            <a:ext cx="5546690" cy="45018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2400">
                <a:solidFill>
                  <a:srgbClr val="575757"/>
                </a:solidFill>
              </a:rPr>
              <a:t>Linear Regression</a:t>
            </a:r>
          </a:p>
          <a:p>
            <a:endParaRPr lang="de-DE" sz="2400">
              <a:solidFill>
                <a:srgbClr val="575757"/>
              </a:solidFill>
            </a:endParaRPr>
          </a:p>
          <a:p>
            <a:r>
              <a:rPr lang="de-DE" sz="2400">
                <a:solidFill>
                  <a:srgbClr val="575757"/>
                </a:solidFill>
              </a:rPr>
              <a:t>Fully </a:t>
            </a:r>
            <a:r>
              <a:rPr lang="de-DE" sz="2400" err="1">
                <a:solidFill>
                  <a:srgbClr val="575757"/>
                </a:solidFill>
              </a:rPr>
              <a:t>Connected</a:t>
            </a:r>
            <a:r>
              <a:rPr lang="de-DE" sz="2400">
                <a:solidFill>
                  <a:srgbClr val="575757"/>
                </a:solidFill>
              </a:rPr>
              <a:t> Model</a:t>
            </a:r>
          </a:p>
          <a:p>
            <a:endParaRPr lang="de-DE" sz="2400">
              <a:solidFill>
                <a:srgbClr val="575757"/>
              </a:solidFill>
            </a:endParaRPr>
          </a:p>
          <a:p>
            <a:r>
              <a:rPr lang="de-DE" sz="2400">
                <a:solidFill>
                  <a:srgbClr val="575757"/>
                </a:solidFill>
              </a:rPr>
              <a:t>LSTM</a:t>
            </a:r>
          </a:p>
        </p:txBody>
      </p:sp>
      <p:pic>
        <p:nvPicPr>
          <p:cNvPr id="7" name="Grafik 6" descr="Schließen mit einfarbiger Füllung">
            <a:extLst>
              <a:ext uri="{FF2B5EF4-FFF2-40B4-BE49-F238E27FC236}">
                <a16:creationId xmlns:a16="http://schemas.microsoft.com/office/drawing/2014/main" id="{FF1D09E1-D4EF-43B9-85DE-803A6DE1C3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838" y="1937723"/>
            <a:ext cx="531659" cy="531659"/>
          </a:xfrm>
          <a:prstGeom prst="rect">
            <a:avLst/>
          </a:prstGeom>
        </p:spPr>
      </p:pic>
      <p:pic>
        <p:nvPicPr>
          <p:cNvPr id="9" name="Grafik 8" descr="Schließen mit einfarbiger Füllung">
            <a:extLst>
              <a:ext uri="{FF2B5EF4-FFF2-40B4-BE49-F238E27FC236}">
                <a16:creationId xmlns:a16="http://schemas.microsoft.com/office/drawing/2014/main" id="{76D9A09C-4D32-433A-A4E0-1CD8F1D301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97684" y="2594867"/>
            <a:ext cx="531659" cy="531659"/>
          </a:xfrm>
          <a:prstGeom prst="rect">
            <a:avLst/>
          </a:prstGeom>
        </p:spPr>
      </p:pic>
      <p:pic>
        <p:nvPicPr>
          <p:cNvPr id="10" name="Grafik 9" descr="Häkchen mit einfarbiger Füllung">
            <a:extLst>
              <a:ext uri="{FF2B5EF4-FFF2-40B4-BE49-F238E27FC236}">
                <a16:creationId xmlns:a16="http://schemas.microsoft.com/office/drawing/2014/main" id="{DD119C31-72B6-47C1-8BE6-7645D25B2A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7684" y="3362373"/>
            <a:ext cx="531659" cy="531659"/>
          </a:xfrm>
          <a:prstGeom prst="rect">
            <a:avLst/>
          </a:prstGeom>
        </p:spPr>
      </p:pic>
    </p:spTree>
    <p:extLst>
      <p:ext uri="{BB962C8B-B14F-4D97-AF65-F5344CB8AC3E}">
        <p14:creationId xmlns:p14="http://schemas.microsoft.com/office/powerpoint/2010/main" val="359179639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40D52-CAF7-46D5-9BE7-77616DCDC369}"/>
              </a:ext>
            </a:extLst>
          </p:cNvPr>
          <p:cNvSpPr>
            <a:spLocks noGrp="1"/>
          </p:cNvSpPr>
          <p:nvPr>
            <p:ph type="title"/>
          </p:nvPr>
        </p:nvSpPr>
        <p:spPr>
          <a:xfrm>
            <a:off x="630000" y="622800"/>
            <a:ext cx="3127881" cy="1495794"/>
          </a:xfrm>
        </p:spPr>
        <p:txBody>
          <a:bodyPr anchor="t"/>
          <a:lstStyle/>
          <a:p>
            <a:r>
              <a:rPr lang="en-US" sz="4800"/>
              <a:t>3.1 </a:t>
            </a:r>
            <a:br>
              <a:rPr lang="en-US" sz="4800"/>
            </a:br>
            <a:r>
              <a:rPr lang="en-US" sz="4800"/>
              <a:t>Linear Regression</a:t>
            </a:r>
          </a:p>
        </p:txBody>
      </p:sp>
      <p:sp>
        <p:nvSpPr>
          <p:cNvPr id="4" name="Title 1">
            <a:extLst>
              <a:ext uri="{FF2B5EF4-FFF2-40B4-BE49-F238E27FC236}">
                <a16:creationId xmlns:a16="http://schemas.microsoft.com/office/drawing/2014/main" id="{AE84365F-945A-4B25-BB47-3C21A70520BB}"/>
              </a:ext>
            </a:extLst>
          </p:cNvPr>
          <p:cNvSpPr txBox="1">
            <a:spLocks/>
          </p:cNvSpPr>
          <p:nvPr/>
        </p:nvSpPr>
        <p:spPr>
          <a:xfrm>
            <a:off x="4500979" y="622799"/>
            <a:ext cx="7061021" cy="941795"/>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endParaRPr lang="en-US">
              <a:solidFill>
                <a:srgbClr val="009682"/>
              </a:solidFill>
            </a:endParaRPr>
          </a:p>
        </p:txBody>
      </p:sp>
      <p:sp>
        <p:nvSpPr>
          <p:cNvPr id="27" name="Textfeld 26">
            <a:extLst>
              <a:ext uri="{FF2B5EF4-FFF2-40B4-BE49-F238E27FC236}">
                <a16:creationId xmlns:a16="http://schemas.microsoft.com/office/drawing/2014/main" id="{BFE28822-2483-EC44-90BE-03040373488F}"/>
              </a:ext>
            </a:extLst>
          </p:cNvPr>
          <p:cNvSpPr txBox="1"/>
          <p:nvPr/>
        </p:nvSpPr>
        <p:spPr>
          <a:xfrm>
            <a:off x="1989438" y="22489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pic>
        <p:nvPicPr>
          <p:cNvPr id="149508" name="Picture 4" descr="Linear regression - Free arrows icons">
            <a:extLst>
              <a:ext uri="{FF2B5EF4-FFF2-40B4-BE49-F238E27FC236}">
                <a16:creationId xmlns:a16="http://schemas.microsoft.com/office/drawing/2014/main" id="{CC20EF45-89A2-4982-B35D-052D504B69F2}"/>
              </a:ext>
            </a:extLst>
          </p:cNvPr>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93089" y="990600"/>
            <a:ext cx="4876800" cy="487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894983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956537-FF29-47EA-848B-BBFC8DFE044D}"/>
              </a:ext>
            </a:extLst>
          </p:cNvPr>
          <p:cNvSpPr>
            <a:spLocks noGrp="1"/>
          </p:cNvSpPr>
          <p:nvPr>
            <p:ph type="title"/>
          </p:nvPr>
        </p:nvSpPr>
        <p:spPr>
          <a:xfrm>
            <a:off x="839788" y="365125"/>
            <a:ext cx="10515600" cy="470898"/>
          </a:xfrm>
        </p:spPr>
        <p:txBody>
          <a:bodyPr/>
          <a:lstStyle/>
          <a:p>
            <a:r>
              <a:rPr lang="en-GB" sz="3400"/>
              <a:t>Linear Regression – Hourly (1).</a:t>
            </a:r>
            <a:endParaRPr lang="de-DE" sz="3400"/>
          </a:p>
        </p:txBody>
      </p:sp>
      <p:sp>
        <p:nvSpPr>
          <p:cNvPr id="3" name="Textplatzhalter 2">
            <a:extLst>
              <a:ext uri="{FF2B5EF4-FFF2-40B4-BE49-F238E27FC236}">
                <a16:creationId xmlns:a16="http://schemas.microsoft.com/office/drawing/2014/main" id="{D85CB090-85D4-4B73-9521-A2DB5B529BCF}"/>
              </a:ext>
            </a:extLst>
          </p:cNvPr>
          <p:cNvSpPr>
            <a:spLocks noGrp="1"/>
          </p:cNvSpPr>
          <p:nvPr>
            <p:ph type="body" idx="1"/>
          </p:nvPr>
        </p:nvSpPr>
        <p:spPr/>
        <p:txBody>
          <a:bodyPr>
            <a:normAutofit fontScale="92500" lnSpcReduction="10000"/>
          </a:bodyPr>
          <a:lstStyle/>
          <a:p>
            <a:r>
              <a:rPr lang="de-DE" b="0"/>
              <a:t>Training (80%)</a:t>
            </a:r>
          </a:p>
          <a:p>
            <a:r>
              <a:rPr lang="de-DE" b="0"/>
              <a:t>MAE: 35.7</a:t>
            </a:r>
          </a:p>
        </p:txBody>
      </p:sp>
      <p:sp>
        <p:nvSpPr>
          <p:cNvPr id="5" name="Textplatzhalter 4">
            <a:extLst>
              <a:ext uri="{FF2B5EF4-FFF2-40B4-BE49-F238E27FC236}">
                <a16:creationId xmlns:a16="http://schemas.microsoft.com/office/drawing/2014/main" id="{A8379805-2228-453E-9EF4-7A2D8F6FF651}"/>
              </a:ext>
            </a:extLst>
          </p:cNvPr>
          <p:cNvSpPr>
            <a:spLocks noGrp="1"/>
          </p:cNvSpPr>
          <p:nvPr>
            <p:ph type="body" sz="quarter" idx="3"/>
          </p:nvPr>
        </p:nvSpPr>
        <p:spPr/>
        <p:txBody>
          <a:bodyPr>
            <a:normAutofit fontScale="92500" lnSpcReduction="10000"/>
          </a:bodyPr>
          <a:lstStyle/>
          <a:p>
            <a:r>
              <a:rPr lang="de-DE" b="0" err="1"/>
              <a:t>Testing</a:t>
            </a:r>
            <a:r>
              <a:rPr lang="de-DE" b="0"/>
              <a:t> (20%)</a:t>
            </a:r>
          </a:p>
          <a:p>
            <a:r>
              <a:rPr lang="de-DE" b="0"/>
              <a:t>MAE: 54.4</a:t>
            </a:r>
          </a:p>
        </p:txBody>
      </p:sp>
      <p:sp>
        <p:nvSpPr>
          <p:cNvPr id="9" name="Rectangle 1">
            <a:extLst>
              <a:ext uri="{FF2B5EF4-FFF2-40B4-BE49-F238E27FC236}">
                <a16:creationId xmlns:a16="http://schemas.microsoft.com/office/drawing/2014/main" id="{31317F97-F516-468D-B891-2F221DED02F9}"/>
              </a:ext>
            </a:extLst>
          </p:cNvPr>
          <p:cNvSpPr>
            <a:spLocks noChangeArrowheads="1"/>
          </p:cNvSpPr>
          <p:nvPr/>
        </p:nvSpPr>
        <p:spPr bwMode="auto">
          <a:xfrm>
            <a:off x="0" y="167044"/>
            <a:ext cx="22442" cy="12311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800" b="0" i="0" u="none" strike="noStrike" cap="none" normalizeH="0" baseline="0">
                <a:ln>
                  <a:noFill/>
                </a:ln>
                <a:solidFill>
                  <a:schemeClr val="tx1"/>
                </a:solidFill>
                <a:effectLst/>
              </a:rPr>
              <a:t> </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0" name="Rectangle 2">
            <a:extLst>
              <a:ext uri="{FF2B5EF4-FFF2-40B4-BE49-F238E27FC236}">
                <a16:creationId xmlns:a16="http://schemas.microsoft.com/office/drawing/2014/main" id="{9B0CB26D-0CC8-450A-A5E6-1232F0E0D536}"/>
              </a:ext>
            </a:extLst>
          </p:cNvPr>
          <p:cNvSpPr>
            <a:spLocks noChangeArrowheads="1"/>
          </p:cNvSpPr>
          <p:nvPr/>
        </p:nvSpPr>
        <p:spPr bwMode="auto">
          <a:xfrm>
            <a:off x="152400" y="319444"/>
            <a:ext cx="22442" cy="12311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800" b="0" i="0" u="none" strike="noStrike" cap="none" normalizeH="0" baseline="0">
                <a:ln>
                  <a:noFill/>
                </a:ln>
                <a:solidFill>
                  <a:schemeClr val="tx1"/>
                </a:solidFill>
                <a:effectLst/>
              </a:rPr>
              <a:t> </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1" name="Rectangle 3">
            <a:extLst>
              <a:ext uri="{FF2B5EF4-FFF2-40B4-BE49-F238E27FC236}">
                <a16:creationId xmlns:a16="http://schemas.microsoft.com/office/drawing/2014/main" id="{800D917E-9A59-4D49-80ED-058B31566012}"/>
              </a:ext>
            </a:extLst>
          </p:cNvPr>
          <p:cNvSpPr>
            <a:spLocks noChangeArrowheads="1"/>
          </p:cNvSpPr>
          <p:nvPr/>
        </p:nvSpPr>
        <p:spPr bwMode="auto">
          <a:xfrm>
            <a:off x="304800" y="471844"/>
            <a:ext cx="22442" cy="12311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800" b="0" i="0" u="none" strike="noStrike" cap="none" normalizeH="0" baseline="0">
                <a:ln>
                  <a:noFill/>
                </a:ln>
                <a:solidFill>
                  <a:schemeClr val="tx1"/>
                </a:solidFill>
                <a:effectLst/>
              </a:rPr>
              <a:t> </a:t>
            </a:r>
            <a:endParaRPr kumimoji="0" lang="de-DE" altLang="de-DE" sz="1800" b="0" i="0" u="none" strike="noStrike" cap="none" normalizeH="0" baseline="0">
              <a:ln>
                <a:noFill/>
              </a:ln>
              <a:solidFill>
                <a:schemeClr val="tx1"/>
              </a:solidFill>
              <a:effectLst/>
              <a:latin typeface="Arial" panose="020B0604020202020204" pitchFamily="34" charset="0"/>
            </a:endParaRPr>
          </a:p>
        </p:txBody>
      </p:sp>
      <p:pic>
        <p:nvPicPr>
          <p:cNvPr id="144392" name="Picture 8">
            <a:extLst>
              <a:ext uri="{FF2B5EF4-FFF2-40B4-BE49-F238E27FC236}">
                <a16:creationId xmlns:a16="http://schemas.microsoft.com/office/drawing/2014/main" id="{2133C964-B321-45CE-AF7D-CE239D1833A0}"/>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839788" y="2594478"/>
            <a:ext cx="5157787" cy="3505782"/>
          </a:xfrm>
          <a:prstGeom prst="rect">
            <a:avLst/>
          </a:prstGeom>
          <a:noFill/>
          <a:extLst>
            <a:ext uri="{909E8E84-426E-40DD-AFC4-6F175D3DCCD1}">
              <a14:hiddenFill xmlns:a14="http://schemas.microsoft.com/office/drawing/2010/main">
                <a:solidFill>
                  <a:srgbClr val="FFFFFF"/>
                </a:solidFill>
              </a14:hiddenFill>
            </a:ext>
          </a:extLst>
        </p:spPr>
      </p:pic>
      <p:pic>
        <p:nvPicPr>
          <p:cNvPr id="144396" name="Picture 12">
            <a:extLst>
              <a:ext uri="{FF2B5EF4-FFF2-40B4-BE49-F238E27FC236}">
                <a16:creationId xmlns:a16="http://schemas.microsoft.com/office/drawing/2014/main" id="{DB3D1915-BB1D-4C3C-9553-DAA81024413A}"/>
              </a:ext>
            </a:extLst>
          </p:cNvPr>
          <p:cNvPicPr>
            <a:picLocks noGrp="1" noChangeAspect="1" noChangeArrowheads="1"/>
          </p:cNvPicPr>
          <p:nvPr>
            <p:ph sz="quarter" idx="4"/>
          </p:nvPr>
        </p:nvPicPr>
        <p:blipFill>
          <a:blip r:embed="rId3">
            <a:extLst>
              <a:ext uri="{28A0092B-C50C-407E-A947-70E740481C1C}">
                <a14:useLocalDpi xmlns:a14="http://schemas.microsoft.com/office/drawing/2010/main" val="0"/>
              </a:ext>
            </a:extLst>
          </a:blip>
          <a:srcRect/>
          <a:stretch>
            <a:fillRect/>
          </a:stretch>
        </p:blipFill>
        <p:spPr bwMode="auto">
          <a:xfrm>
            <a:off x="6205064" y="2582289"/>
            <a:ext cx="5117460" cy="3530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8989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02B9AF-BCC6-4338-8634-A717B83D16CA}"/>
              </a:ext>
            </a:extLst>
          </p:cNvPr>
          <p:cNvSpPr>
            <a:spLocks noGrp="1"/>
          </p:cNvSpPr>
          <p:nvPr>
            <p:ph type="title"/>
          </p:nvPr>
        </p:nvSpPr>
        <p:spPr>
          <a:xfrm>
            <a:off x="839788" y="365125"/>
            <a:ext cx="10515600" cy="470898"/>
          </a:xfrm>
        </p:spPr>
        <p:txBody>
          <a:bodyPr/>
          <a:lstStyle/>
          <a:p>
            <a:r>
              <a:rPr lang="en-GB" sz="3400"/>
              <a:t>Linear Regression – Hourly (2).</a:t>
            </a:r>
            <a:endParaRPr lang="de-DE" sz="3400"/>
          </a:p>
        </p:txBody>
      </p:sp>
      <p:sp>
        <p:nvSpPr>
          <p:cNvPr id="3" name="Textplatzhalter 2">
            <a:extLst>
              <a:ext uri="{FF2B5EF4-FFF2-40B4-BE49-F238E27FC236}">
                <a16:creationId xmlns:a16="http://schemas.microsoft.com/office/drawing/2014/main" id="{5C91D44F-C4F4-43A6-8F1D-05653713F37C}"/>
              </a:ext>
            </a:extLst>
          </p:cNvPr>
          <p:cNvSpPr>
            <a:spLocks noGrp="1"/>
          </p:cNvSpPr>
          <p:nvPr>
            <p:ph type="body" idx="1"/>
          </p:nvPr>
        </p:nvSpPr>
        <p:spPr/>
        <p:txBody>
          <a:bodyPr>
            <a:normAutofit fontScale="92500" lnSpcReduction="10000"/>
          </a:bodyPr>
          <a:lstStyle/>
          <a:p>
            <a:r>
              <a:rPr lang="de-DE" b="0" err="1"/>
              <a:t>Predict</a:t>
            </a:r>
            <a:r>
              <a:rPr lang="de-DE" b="0"/>
              <a:t> 500 </a:t>
            </a:r>
            <a:r>
              <a:rPr lang="de-DE" b="0" err="1"/>
              <a:t>hours</a:t>
            </a:r>
            <a:endParaRPr lang="de-DE" b="0"/>
          </a:p>
          <a:p>
            <a:r>
              <a:rPr lang="de-DE" b="0" err="1"/>
              <a:t>Slope</a:t>
            </a:r>
            <a:r>
              <a:rPr lang="de-DE" b="0"/>
              <a:t> </a:t>
            </a:r>
            <a:r>
              <a:rPr lang="de-DE" b="0" err="1"/>
              <a:t>of</a:t>
            </a:r>
            <a:r>
              <a:rPr lang="de-DE" b="0"/>
              <a:t> </a:t>
            </a:r>
            <a:r>
              <a:rPr lang="de-DE" b="0" err="1"/>
              <a:t>fitted</a:t>
            </a:r>
            <a:r>
              <a:rPr lang="de-DE" b="0"/>
              <a:t>  Line = -0.85</a:t>
            </a:r>
          </a:p>
        </p:txBody>
      </p:sp>
      <p:pic>
        <p:nvPicPr>
          <p:cNvPr id="146440" name="Picture 8">
            <a:extLst>
              <a:ext uri="{FF2B5EF4-FFF2-40B4-BE49-F238E27FC236}">
                <a16:creationId xmlns:a16="http://schemas.microsoft.com/office/drawing/2014/main" id="{3CC89175-0270-4870-A222-1E336335BA2C}"/>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839788" y="2590181"/>
            <a:ext cx="5157787" cy="3514375"/>
          </a:xfrm>
          <a:prstGeom prst="rect">
            <a:avLst/>
          </a:prstGeom>
          <a:noFill/>
          <a:extLst>
            <a:ext uri="{909E8E84-426E-40DD-AFC4-6F175D3DCCD1}">
              <a14:hiddenFill xmlns:a14="http://schemas.microsoft.com/office/drawing/2010/main">
                <a:solidFill>
                  <a:srgbClr val="FFFFFF"/>
                </a:solidFill>
              </a14:hiddenFill>
            </a:ext>
          </a:extLst>
        </p:spPr>
      </p:pic>
      <p:pic>
        <p:nvPicPr>
          <p:cNvPr id="146442" name="Picture 10">
            <a:extLst>
              <a:ext uri="{FF2B5EF4-FFF2-40B4-BE49-F238E27FC236}">
                <a16:creationId xmlns:a16="http://schemas.microsoft.com/office/drawing/2014/main" id="{7676BDF5-0C5C-4C06-A2B8-46B95A71B230}"/>
              </a:ext>
            </a:extLst>
          </p:cNvPr>
          <p:cNvPicPr>
            <a:picLocks noGrp="1" noChangeAspect="1" noChangeArrowheads="1"/>
          </p:cNvPicPr>
          <p:nvPr>
            <p:ph sz="quarter" idx="4"/>
          </p:nvPr>
        </p:nvPicPr>
        <p:blipFill>
          <a:blip r:embed="rId3">
            <a:extLst>
              <a:ext uri="{28A0092B-C50C-407E-A947-70E740481C1C}">
                <a14:useLocalDpi xmlns:a14="http://schemas.microsoft.com/office/drawing/2010/main" val="0"/>
              </a:ext>
            </a:extLst>
          </a:blip>
          <a:srcRect/>
          <a:stretch>
            <a:fillRect/>
          </a:stretch>
        </p:blipFill>
        <p:spPr bwMode="auto">
          <a:xfrm>
            <a:off x="6293953" y="2582289"/>
            <a:ext cx="4939682" cy="3530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23676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055FFB-0FE3-4437-BA64-E6B5275E5D0C}"/>
              </a:ext>
            </a:extLst>
          </p:cNvPr>
          <p:cNvSpPr>
            <a:spLocks noGrp="1"/>
          </p:cNvSpPr>
          <p:nvPr>
            <p:ph type="title"/>
          </p:nvPr>
        </p:nvSpPr>
        <p:spPr>
          <a:xfrm>
            <a:off x="839788" y="365125"/>
            <a:ext cx="10515600" cy="470898"/>
          </a:xfrm>
        </p:spPr>
        <p:txBody>
          <a:bodyPr/>
          <a:lstStyle/>
          <a:p>
            <a:r>
              <a:rPr lang="en-GB" sz="3400"/>
              <a:t>Linear Regression – Daily (1).</a:t>
            </a:r>
            <a:endParaRPr lang="de-DE" sz="3400"/>
          </a:p>
        </p:txBody>
      </p:sp>
      <p:sp>
        <p:nvSpPr>
          <p:cNvPr id="3" name="Textplatzhalter 2">
            <a:extLst>
              <a:ext uri="{FF2B5EF4-FFF2-40B4-BE49-F238E27FC236}">
                <a16:creationId xmlns:a16="http://schemas.microsoft.com/office/drawing/2014/main" id="{5A21C347-0114-4F29-B63F-54643A9707F4}"/>
              </a:ext>
            </a:extLst>
          </p:cNvPr>
          <p:cNvSpPr>
            <a:spLocks noGrp="1"/>
          </p:cNvSpPr>
          <p:nvPr>
            <p:ph type="body" idx="1"/>
          </p:nvPr>
        </p:nvSpPr>
        <p:spPr/>
        <p:txBody>
          <a:bodyPr>
            <a:normAutofit fontScale="92500" lnSpcReduction="10000"/>
          </a:bodyPr>
          <a:lstStyle/>
          <a:p>
            <a:r>
              <a:rPr lang="de-DE" b="0"/>
              <a:t>Training (80%)</a:t>
            </a:r>
          </a:p>
          <a:p>
            <a:r>
              <a:rPr lang="de-DE" b="0"/>
              <a:t>MAE: 41.8</a:t>
            </a:r>
          </a:p>
        </p:txBody>
      </p:sp>
      <p:sp>
        <p:nvSpPr>
          <p:cNvPr id="5" name="Textplatzhalter 4">
            <a:extLst>
              <a:ext uri="{FF2B5EF4-FFF2-40B4-BE49-F238E27FC236}">
                <a16:creationId xmlns:a16="http://schemas.microsoft.com/office/drawing/2014/main" id="{C225A97A-8416-40B3-891B-89DD140BCDC3}"/>
              </a:ext>
            </a:extLst>
          </p:cNvPr>
          <p:cNvSpPr>
            <a:spLocks noGrp="1"/>
          </p:cNvSpPr>
          <p:nvPr>
            <p:ph type="body" sz="quarter" idx="3"/>
          </p:nvPr>
        </p:nvSpPr>
        <p:spPr/>
        <p:txBody>
          <a:bodyPr>
            <a:normAutofit fontScale="92500" lnSpcReduction="10000"/>
          </a:bodyPr>
          <a:lstStyle/>
          <a:p>
            <a:r>
              <a:rPr lang="de-DE" b="0" err="1"/>
              <a:t>Testing</a:t>
            </a:r>
            <a:r>
              <a:rPr lang="de-DE" b="0"/>
              <a:t> (20%)</a:t>
            </a:r>
          </a:p>
          <a:p>
            <a:r>
              <a:rPr lang="de-DE" b="0"/>
              <a:t>MAE: 44.8</a:t>
            </a:r>
          </a:p>
        </p:txBody>
      </p:sp>
      <p:pic>
        <p:nvPicPr>
          <p:cNvPr id="147458" name="Picture 2">
            <a:extLst>
              <a:ext uri="{FF2B5EF4-FFF2-40B4-BE49-F238E27FC236}">
                <a16:creationId xmlns:a16="http://schemas.microsoft.com/office/drawing/2014/main" id="{19543B13-C50B-4371-954C-0FF6D0D03B81}"/>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839788" y="2594478"/>
            <a:ext cx="5157787" cy="3505782"/>
          </a:xfrm>
          <a:prstGeom prst="rect">
            <a:avLst/>
          </a:prstGeom>
          <a:noFill/>
          <a:extLst>
            <a:ext uri="{909E8E84-426E-40DD-AFC4-6F175D3DCCD1}">
              <a14:hiddenFill xmlns:a14="http://schemas.microsoft.com/office/drawing/2010/main">
                <a:solidFill>
                  <a:srgbClr val="FFFFFF"/>
                </a:solidFill>
              </a14:hiddenFill>
            </a:ext>
          </a:extLst>
        </p:spPr>
      </p:pic>
      <p:pic>
        <p:nvPicPr>
          <p:cNvPr id="147460" name="Picture 4">
            <a:extLst>
              <a:ext uri="{FF2B5EF4-FFF2-40B4-BE49-F238E27FC236}">
                <a16:creationId xmlns:a16="http://schemas.microsoft.com/office/drawing/2014/main" id="{4E2B9C5F-B82D-47A7-B36D-D9EE5EFE86E7}"/>
              </a:ext>
            </a:extLst>
          </p:cNvPr>
          <p:cNvPicPr>
            <a:picLocks noGrp="1" noChangeAspect="1" noChangeArrowheads="1"/>
          </p:cNvPicPr>
          <p:nvPr>
            <p:ph sz="quarter" idx="4"/>
          </p:nvPr>
        </p:nvPicPr>
        <p:blipFill>
          <a:blip r:embed="rId3">
            <a:extLst>
              <a:ext uri="{28A0092B-C50C-407E-A947-70E740481C1C}">
                <a14:useLocalDpi xmlns:a14="http://schemas.microsoft.com/office/drawing/2010/main" val="0"/>
              </a:ext>
            </a:extLst>
          </a:blip>
          <a:srcRect/>
          <a:stretch>
            <a:fillRect/>
          </a:stretch>
        </p:blipFill>
        <p:spPr bwMode="auto">
          <a:xfrm>
            <a:off x="6205064" y="2582289"/>
            <a:ext cx="5117460" cy="3530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45205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7" name="think-cell Slide" r:id="rId6" imgW="592" imgH="591" progId="TCLayout.ActiveDocument.1">
                  <p:embed/>
                </p:oleObj>
              </mc:Choice>
              <mc:Fallback>
                <p:oleObj name="think-cell Slide" r:id="rId6" imgW="592" imgH="59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 Placeholder 4"/>
          <p:cNvSpPr>
            <a:spLocks noGrp="1"/>
          </p:cNvSpPr>
          <p:nvPr>
            <p:ph type="body" sz="quarter" idx="12"/>
          </p:nvPr>
        </p:nvSpPr>
        <p:spPr/>
        <p:txBody>
          <a:bodyPr/>
          <a:lstStyle/>
          <a:p>
            <a:r>
              <a:rPr lang="en-US"/>
              <a:t>26. July 2021 </a:t>
            </a:r>
          </a:p>
        </p:txBody>
      </p:sp>
      <p:sp>
        <p:nvSpPr>
          <p:cNvPr id="3" name="Title 2"/>
          <p:cNvSpPr>
            <a:spLocks noGrp="1"/>
          </p:cNvSpPr>
          <p:nvPr>
            <p:ph type="ctrTitle"/>
          </p:nvPr>
        </p:nvSpPr>
        <p:spPr>
          <a:xfrm>
            <a:off x="1117415" y="1584401"/>
            <a:ext cx="6868800" cy="2006007"/>
          </a:xfrm>
        </p:spPr>
        <p:txBody>
          <a:bodyPr/>
          <a:lstStyle/>
          <a:p>
            <a:r>
              <a:rPr lang="en-US"/>
              <a:t>Business Data Analytics </a:t>
            </a:r>
          </a:p>
        </p:txBody>
      </p:sp>
      <p:sp>
        <p:nvSpPr>
          <p:cNvPr id="6" name="Subtitle 5">
            <a:extLst>
              <a:ext uri="{FF2B5EF4-FFF2-40B4-BE49-F238E27FC236}">
                <a16:creationId xmlns:a16="http://schemas.microsoft.com/office/drawing/2014/main" id="{ECB99DAC-BA04-4400-B88D-735C8CA837B8}"/>
              </a:ext>
            </a:extLst>
          </p:cNvPr>
          <p:cNvSpPr>
            <a:spLocks noGrp="1"/>
          </p:cNvSpPr>
          <p:nvPr>
            <p:ph type="subTitle" idx="1"/>
          </p:nvPr>
        </p:nvSpPr>
        <p:spPr/>
        <p:txBody>
          <a:bodyPr/>
          <a:lstStyle/>
          <a:p>
            <a:r>
              <a:rPr lang="en-US" sz="2800">
                <a:ea typeface="+mn-lt"/>
                <a:cs typeface="+mn-lt"/>
              </a:rPr>
              <a:t>Final Report</a:t>
            </a:r>
            <a:endParaRPr lang="de-DE" sz="1800"/>
          </a:p>
        </p:txBody>
      </p:sp>
    </p:spTree>
    <p:extLst>
      <p:ext uri="{BB962C8B-B14F-4D97-AF65-F5344CB8AC3E}">
        <p14:creationId xmlns:p14="http://schemas.microsoft.com/office/powerpoint/2010/main" val="178087768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BDBB43-F957-4A08-8D1A-233B2B5AA4C3}"/>
              </a:ext>
            </a:extLst>
          </p:cNvPr>
          <p:cNvSpPr>
            <a:spLocks noGrp="1"/>
          </p:cNvSpPr>
          <p:nvPr>
            <p:ph type="title"/>
          </p:nvPr>
        </p:nvSpPr>
        <p:spPr>
          <a:xfrm>
            <a:off x="839788" y="365125"/>
            <a:ext cx="10515600" cy="470898"/>
          </a:xfrm>
        </p:spPr>
        <p:txBody>
          <a:bodyPr/>
          <a:lstStyle/>
          <a:p>
            <a:r>
              <a:rPr lang="en-GB" sz="3400"/>
              <a:t>Linear Regression - Daily (2).</a:t>
            </a:r>
            <a:endParaRPr lang="de-DE" sz="3400"/>
          </a:p>
        </p:txBody>
      </p:sp>
      <p:sp>
        <p:nvSpPr>
          <p:cNvPr id="3" name="Textplatzhalter 2">
            <a:extLst>
              <a:ext uri="{FF2B5EF4-FFF2-40B4-BE49-F238E27FC236}">
                <a16:creationId xmlns:a16="http://schemas.microsoft.com/office/drawing/2014/main" id="{FD4D9D61-74A8-44F1-9CDF-C47FA90839E1}"/>
              </a:ext>
            </a:extLst>
          </p:cNvPr>
          <p:cNvSpPr>
            <a:spLocks noGrp="1"/>
          </p:cNvSpPr>
          <p:nvPr>
            <p:ph type="body" idx="1"/>
          </p:nvPr>
        </p:nvSpPr>
        <p:spPr/>
        <p:txBody>
          <a:bodyPr>
            <a:normAutofit fontScale="92500" lnSpcReduction="10000"/>
          </a:bodyPr>
          <a:lstStyle/>
          <a:p>
            <a:r>
              <a:rPr lang="de-DE" b="0" err="1"/>
              <a:t>Predict</a:t>
            </a:r>
            <a:r>
              <a:rPr lang="de-DE" b="0"/>
              <a:t> 14 Days</a:t>
            </a:r>
          </a:p>
          <a:p>
            <a:r>
              <a:rPr lang="de-DE" b="0" err="1"/>
              <a:t>Slope</a:t>
            </a:r>
            <a:r>
              <a:rPr lang="de-DE" b="0"/>
              <a:t> </a:t>
            </a:r>
            <a:r>
              <a:rPr lang="de-DE" b="0" err="1"/>
              <a:t>of</a:t>
            </a:r>
            <a:r>
              <a:rPr lang="de-DE" b="0"/>
              <a:t> </a:t>
            </a:r>
            <a:r>
              <a:rPr lang="de-DE" b="0" err="1"/>
              <a:t>fitted</a:t>
            </a:r>
            <a:r>
              <a:rPr lang="de-DE" b="0"/>
              <a:t>  Line = -17.49 </a:t>
            </a:r>
          </a:p>
        </p:txBody>
      </p:sp>
      <p:pic>
        <p:nvPicPr>
          <p:cNvPr id="148482" name="Picture 2">
            <a:extLst>
              <a:ext uri="{FF2B5EF4-FFF2-40B4-BE49-F238E27FC236}">
                <a16:creationId xmlns:a16="http://schemas.microsoft.com/office/drawing/2014/main" id="{7F13EC2D-40EE-4DED-BA24-DB502D686D1C}"/>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859951" y="2582289"/>
            <a:ext cx="5117460" cy="3530159"/>
          </a:xfrm>
          <a:prstGeom prst="rect">
            <a:avLst/>
          </a:prstGeom>
          <a:noFill/>
          <a:extLst>
            <a:ext uri="{909E8E84-426E-40DD-AFC4-6F175D3DCCD1}">
              <a14:hiddenFill xmlns:a14="http://schemas.microsoft.com/office/drawing/2010/main">
                <a:solidFill>
                  <a:srgbClr val="FFFFFF"/>
                </a:solidFill>
              </a14:hiddenFill>
            </a:ext>
          </a:extLst>
        </p:spPr>
      </p:pic>
      <p:pic>
        <p:nvPicPr>
          <p:cNvPr id="148484" name="Picture 4">
            <a:extLst>
              <a:ext uri="{FF2B5EF4-FFF2-40B4-BE49-F238E27FC236}">
                <a16:creationId xmlns:a16="http://schemas.microsoft.com/office/drawing/2014/main" id="{F4557A62-589B-4962-8152-BE7FC54487EE}"/>
              </a:ext>
            </a:extLst>
          </p:cNvPr>
          <p:cNvPicPr>
            <a:picLocks noGrp="1" noChangeAspect="1" noChangeArrowheads="1"/>
          </p:cNvPicPr>
          <p:nvPr>
            <p:ph sz="quarter" idx="4"/>
          </p:nvPr>
        </p:nvPicPr>
        <p:blipFill>
          <a:blip r:embed="rId4">
            <a:extLst>
              <a:ext uri="{28A0092B-C50C-407E-A947-70E740481C1C}">
                <a14:useLocalDpi xmlns:a14="http://schemas.microsoft.com/office/drawing/2010/main" val="0"/>
              </a:ext>
            </a:extLst>
          </a:blip>
          <a:srcRect/>
          <a:stretch>
            <a:fillRect/>
          </a:stretch>
        </p:blipFill>
        <p:spPr bwMode="auto">
          <a:xfrm>
            <a:off x="6287603" y="2582289"/>
            <a:ext cx="4952381" cy="3530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30912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40D52-CAF7-46D5-9BE7-77616DCDC369}"/>
              </a:ext>
            </a:extLst>
          </p:cNvPr>
          <p:cNvSpPr>
            <a:spLocks noGrp="1"/>
          </p:cNvSpPr>
          <p:nvPr>
            <p:ph type="title"/>
          </p:nvPr>
        </p:nvSpPr>
        <p:spPr>
          <a:xfrm>
            <a:off x="630000" y="622800"/>
            <a:ext cx="3127881" cy="1495794"/>
          </a:xfrm>
        </p:spPr>
        <p:txBody>
          <a:bodyPr anchor="t"/>
          <a:lstStyle/>
          <a:p>
            <a:r>
              <a:rPr lang="en-US" sz="4800"/>
              <a:t>3.2 </a:t>
            </a:r>
            <a:br>
              <a:rPr lang="en-US" sz="4800"/>
            </a:br>
            <a:r>
              <a:rPr lang="en-US" sz="4800"/>
              <a:t>LSTM</a:t>
            </a:r>
          </a:p>
        </p:txBody>
      </p:sp>
      <p:sp>
        <p:nvSpPr>
          <p:cNvPr id="4" name="Title 1">
            <a:extLst>
              <a:ext uri="{FF2B5EF4-FFF2-40B4-BE49-F238E27FC236}">
                <a16:creationId xmlns:a16="http://schemas.microsoft.com/office/drawing/2014/main" id="{AE84365F-945A-4B25-BB47-3C21A70520BB}"/>
              </a:ext>
            </a:extLst>
          </p:cNvPr>
          <p:cNvSpPr txBox="1">
            <a:spLocks/>
          </p:cNvSpPr>
          <p:nvPr/>
        </p:nvSpPr>
        <p:spPr>
          <a:xfrm>
            <a:off x="4500979" y="622799"/>
            <a:ext cx="7061021" cy="941795"/>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endParaRPr lang="en-US">
              <a:solidFill>
                <a:srgbClr val="009682"/>
              </a:solidFill>
            </a:endParaRPr>
          </a:p>
        </p:txBody>
      </p:sp>
      <p:sp>
        <p:nvSpPr>
          <p:cNvPr id="27" name="Textfeld 26">
            <a:extLst>
              <a:ext uri="{FF2B5EF4-FFF2-40B4-BE49-F238E27FC236}">
                <a16:creationId xmlns:a16="http://schemas.microsoft.com/office/drawing/2014/main" id="{BFE28822-2483-EC44-90BE-03040373488F}"/>
              </a:ext>
            </a:extLst>
          </p:cNvPr>
          <p:cNvSpPr txBox="1"/>
          <p:nvPr/>
        </p:nvSpPr>
        <p:spPr>
          <a:xfrm>
            <a:off x="1989438" y="22489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pic>
        <p:nvPicPr>
          <p:cNvPr id="5" name="Picture 2" descr="Artificial neural network - Wikipedia">
            <a:extLst>
              <a:ext uri="{FF2B5EF4-FFF2-40B4-BE49-F238E27FC236}">
                <a16:creationId xmlns:a16="http://schemas.microsoft.com/office/drawing/2014/main" id="{6D8524B0-D8BA-40DB-9F1D-B4C9DF7849B5}"/>
              </a:ext>
            </a:extLst>
          </p:cNvPr>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94672" y="1583644"/>
            <a:ext cx="7772059" cy="37176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47243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19B9B-9193-4140-874C-B30196EB1CEF}"/>
              </a:ext>
            </a:extLst>
          </p:cNvPr>
          <p:cNvSpPr>
            <a:spLocks noGrp="1"/>
          </p:cNvSpPr>
          <p:nvPr>
            <p:ph type="title"/>
          </p:nvPr>
        </p:nvSpPr>
        <p:spPr>
          <a:xfrm>
            <a:off x="630000" y="622800"/>
            <a:ext cx="10933200" cy="470898"/>
          </a:xfrm>
        </p:spPr>
        <p:txBody>
          <a:bodyPr/>
          <a:lstStyle/>
          <a:p>
            <a:r>
              <a:rPr lang="en-GB"/>
              <a:t>LSTM – Hourly.</a:t>
            </a:r>
            <a:endParaRPr lang="LID4096"/>
          </a:p>
        </p:txBody>
      </p:sp>
      <p:sp>
        <p:nvSpPr>
          <p:cNvPr id="12" name="Textplatzhalter 2">
            <a:extLst>
              <a:ext uri="{FF2B5EF4-FFF2-40B4-BE49-F238E27FC236}">
                <a16:creationId xmlns:a16="http://schemas.microsoft.com/office/drawing/2014/main" id="{41232EB3-2186-4ECD-8682-4EA4A8C1DC4F}"/>
              </a:ext>
            </a:extLst>
          </p:cNvPr>
          <p:cNvSpPr txBox="1">
            <a:spLocks/>
          </p:cNvSpPr>
          <p:nvPr/>
        </p:nvSpPr>
        <p:spPr>
          <a:xfrm>
            <a:off x="469106" y="1405014"/>
            <a:ext cx="5157787" cy="823912"/>
          </a:xfrm>
          <a:prstGeom prst="rect">
            <a:avLst/>
          </a:prstGeom>
        </p:spPr>
        <p:txBody>
          <a:bodyPr>
            <a:norm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968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968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968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968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9682"/>
                </a:solidFill>
                <a:latin typeface="+mn-lt"/>
                <a:ea typeface="+mn-ea"/>
                <a:cs typeface="+mn-cs"/>
                <a:sym typeface="Trebuchet MS" panose="020B0603020202020204" pitchFamily="34" charset="0"/>
              </a:defRPr>
            </a:lvl9pPr>
          </a:lstStyle>
          <a:p>
            <a:r>
              <a:rPr lang="de-DE" sz="1400"/>
              <a:t>Training </a:t>
            </a:r>
            <a:r>
              <a:rPr lang="de-DE" sz="1400" err="1"/>
              <a:t>set</a:t>
            </a:r>
            <a:r>
              <a:rPr lang="de-DE" sz="1400"/>
              <a:t>: 09/05/2020 – 29/01/2021</a:t>
            </a:r>
          </a:p>
          <a:p>
            <a:r>
              <a:rPr lang="de-DE" sz="1400"/>
              <a:t>Test </a:t>
            </a:r>
            <a:r>
              <a:rPr lang="de-DE" sz="1400" err="1"/>
              <a:t>set</a:t>
            </a:r>
            <a:r>
              <a:rPr lang="de-DE" sz="1400"/>
              <a:t>: 01/02/2021 – 08/05/2021</a:t>
            </a:r>
          </a:p>
        </p:txBody>
      </p:sp>
      <p:sp>
        <p:nvSpPr>
          <p:cNvPr id="14" name="Textplatzhalter 2">
            <a:extLst>
              <a:ext uri="{FF2B5EF4-FFF2-40B4-BE49-F238E27FC236}">
                <a16:creationId xmlns:a16="http://schemas.microsoft.com/office/drawing/2014/main" id="{8CC65623-1D82-497A-8CF7-B145A355C0C5}"/>
              </a:ext>
            </a:extLst>
          </p:cNvPr>
          <p:cNvSpPr txBox="1">
            <a:spLocks/>
          </p:cNvSpPr>
          <p:nvPr/>
        </p:nvSpPr>
        <p:spPr>
          <a:xfrm>
            <a:off x="2631281" y="5966258"/>
            <a:ext cx="5157787" cy="384300"/>
          </a:xfrm>
          <a:prstGeom prst="rect">
            <a:avLst/>
          </a:prstGeom>
        </p:spPr>
        <p:txBody>
          <a:bodyPr>
            <a:norm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968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968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968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968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9682"/>
                </a:solidFill>
                <a:latin typeface="+mn-lt"/>
                <a:ea typeface="+mn-ea"/>
                <a:cs typeface="+mn-cs"/>
                <a:sym typeface="Trebuchet MS" panose="020B0603020202020204" pitchFamily="34" charset="0"/>
              </a:defRPr>
            </a:lvl9pPr>
          </a:lstStyle>
          <a:p>
            <a:r>
              <a:rPr lang="de-DE"/>
              <a:t>MAE: 1.8</a:t>
            </a:r>
          </a:p>
        </p:txBody>
      </p:sp>
      <p:pic>
        <p:nvPicPr>
          <p:cNvPr id="2050" name="Picture 2">
            <a:extLst>
              <a:ext uri="{FF2B5EF4-FFF2-40B4-BE49-F238E27FC236}">
                <a16:creationId xmlns:a16="http://schemas.microsoft.com/office/drawing/2014/main" id="{FD7E4D8C-6504-4955-A26F-44B68600C8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2830" y="2379468"/>
            <a:ext cx="7268125" cy="3418290"/>
          </a:xfrm>
          <a:prstGeom prst="rect">
            <a:avLst/>
          </a:prstGeom>
          <a:noFill/>
          <a:extLst>
            <a:ext uri="{909E8E84-426E-40DD-AFC4-6F175D3DCCD1}">
              <a14:hiddenFill xmlns:a14="http://schemas.microsoft.com/office/drawing/2010/main">
                <a:solidFill>
                  <a:srgbClr val="FFFFFF"/>
                </a:solidFill>
              </a14:hiddenFill>
            </a:ext>
          </a:extLst>
        </p:spPr>
      </p:pic>
      <p:sp>
        <p:nvSpPr>
          <p:cNvPr id="10" name="Textplatzhalter 2">
            <a:extLst>
              <a:ext uri="{FF2B5EF4-FFF2-40B4-BE49-F238E27FC236}">
                <a16:creationId xmlns:a16="http://schemas.microsoft.com/office/drawing/2014/main" id="{20CF6FD4-9199-4E59-91A6-0B60C0BD6412}"/>
              </a:ext>
            </a:extLst>
          </p:cNvPr>
          <p:cNvSpPr txBox="1">
            <a:spLocks/>
          </p:cNvSpPr>
          <p:nvPr/>
        </p:nvSpPr>
        <p:spPr>
          <a:xfrm>
            <a:off x="5522589" y="1405014"/>
            <a:ext cx="5157787" cy="823912"/>
          </a:xfrm>
          <a:prstGeom prst="rect">
            <a:avLst/>
          </a:prstGeom>
        </p:spPr>
        <p:txBody>
          <a:bodyPr>
            <a:noAutofit/>
          </a:bodyPr>
          <a:lstStyle>
            <a:defPPr>
              <a:defRPr lang="en-US"/>
            </a:defPPr>
            <a:lvl1pPr indent="0">
              <a:lnSpc>
                <a:spcPct val="110000"/>
              </a:lnSpc>
              <a:spcBef>
                <a:spcPts val="600"/>
              </a:spcBef>
              <a:spcAft>
                <a:spcPts val="300"/>
              </a:spcAft>
              <a:buFont typeface="Arial" panose="020B0604020202020204" pitchFamily="34" charset="0"/>
              <a:buChar char="​"/>
              <a:defRPr sz="1400"/>
            </a:lvl1pPr>
            <a:lvl2pPr marL="284400" indent="-172800">
              <a:lnSpc>
                <a:spcPct val="90000"/>
              </a:lnSpc>
              <a:spcBef>
                <a:spcPts val="0"/>
              </a:spcBef>
              <a:spcAft>
                <a:spcPts val="300"/>
              </a:spcAft>
              <a:buClr>
                <a:srgbClr val="009682"/>
              </a:buClr>
              <a:buFont typeface="Arial" panose="020B0604020202020204" pitchFamily="34" charset="0"/>
              <a:buChar char="•"/>
              <a:defRPr sz="1200"/>
            </a:lvl2pPr>
            <a:lvl3pPr marL="511200" indent="-165600">
              <a:lnSpc>
                <a:spcPct val="90000"/>
              </a:lnSpc>
              <a:spcBef>
                <a:spcPts val="0"/>
              </a:spcBef>
              <a:spcAft>
                <a:spcPts val="300"/>
              </a:spcAft>
              <a:buClr>
                <a:schemeClr val="tx2"/>
              </a:buClr>
              <a:buFont typeface="Trebuchet MS" panose="020B0603020202020204" pitchFamily="34" charset="0"/>
              <a:buChar char="–"/>
              <a:defRPr sz="1200"/>
            </a:lvl3pPr>
            <a:lvl4pPr marL="0" indent="0">
              <a:lnSpc>
                <a:spcPct val="110000"/>
              </a:lnSpc>
              <a:spcBef>
                <a:spcPts val="300"/>
              </a:spcBef>
              <a:spcAft>
                <a:spcPts val="300"/>
              </a:spcAft>
              <a:buClr>
                <a:schemeClr val="tx2"/>
              </a:buClr>
              <a:buFont typeface="Arial" panose="020B0604020202020204" pitchFamily="34" charset="0"/>
              <a:buChar char="​"/>
              <a:defRPr sz="1600">
                <a:solidFill>
                  <a:srgbClr val="009682"/>
                </a:solidFill>
              </a:defRPr>
            </a:lvl4pPr>
            <a:lvl5pPr marL="0" indent="0">
              <a:lnSpc>
                <a:spcPct val="100000"/>
              </a:lnSpc>
              <a:spcBef>
                <a:spcPts val="0"/>
              </a:spcBef>
              <a:spcAft>
                <a:spcPts val="300"/>
              </a:spcAft>
              <a:buClrTx/>
              <a:buFont typeface="Arial" panose="020B0604020202020204" pitchFamily="34" charset="0"/>
              <a:buChar char="​"/>
              <a:defRPr sz="1600" b="1"/>
            </a:lvl5pPr>
            <a:lvl6pPr marL="269875" indent="-152400">
              <a:lnSpc>
                <a:spcPct val="90000"/>
              </a:lnSpc>
              <a:spcBef>
                <a:spcPts val="0"/>
              </a:spcBef>
              <a:spcAft>
                <a:spcPts val="600"/>
              </a:spcAft>
              <a:buClr>
                <a:srgbClr val="00968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rgbClr val="009682"/>
                </a:solidFill>
              </a:defRPr>
            </a:lvl8pPr>
            <a:lvl9pPr marL="0" indent="0">
              <a:lnSpc>
                <a:spcPct val="100000"/>
              </a:lnSpc>
              <a:spcBef>
                <a:spcPts val="0"/>
              </a:spcBef>
              <a:spcAft>
                <a:spcPts val="900"/>
              </a:spcAft>
              <a:buFont typeface="Arial" panose="020B0604020202020204" pitchFamily="34" charset="0"/>
              <a:buChar char="​"/>
              <a:defRPr sz="2400" baseline="0">
                <a:solidFill>
                  <a:srgbClr val="009682"/>
                </a:solidFill>
              </a:defRPr>
            </a:lvl9pPr>
          </a:lstStyle>
          <a:p>
            <a:r>
              <a:rPr lang="de-DE" err="1"/>
              <a:t>Epochs</a:t>
            </a:r>
            <a:r>
              <a:rPr lang="de-DE"/>
              <a:t>: 1400</a:t>
            </a:r>
          </a:p>
          <a:p>
            <a:r>
              <a:rPr lang="de-DE"/>
              <a:t>Batch </a:t>
            </a:r>
            <a:r>
              <a:rPr lang="de-DE" err="1"/>
              <a:t>size</a:t>
            </a:r>
            <a:r>
              <a:rPr lang="de-DE"/>
              <a:t>: 16</a:t>
            </a:r>
          </a:p>
          <a:p>
            <a:r>
              <a:rPr lang="de-DE"/>
              <a:t>Time lag: 6</a:t>
            </a:r>
          </a:p>
        </p:txBody>
      </p:sp>
    </p:spTree>
    <p:extLst>
      <p:ext uri="{BB962C8B-B14F-4D97-AF65-F5344CB8AC3E}">
        <p14:creationId xmlns:p14="http://schemas.microsoft.com/office/powerpoint/2010/main" val="11900204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19B9B-9193-4140-874C-B30196EB1CEF}"/>
              </a:ext>
            </a:extLst>
          </p:cNvPr>
          <p:cNvSpPr>
            <a:spLocks noGrp="1"/>
          </p:cNvSpPr>
          <p:nvPr>
            <p:ph type="title"/>
          </p:nvPr>
        </p:nvSpPr>
        <p:spPr>
          <a:xfrm>
            <a:off x="630000" y="622800"/>
            <a:ext cx="10933200" cy="470898"/>
          </a:xfrm>
        </p:spPr>
        <p:txBody>
          <a:bodyPr/>
          <a:lstStyle/>
          <a:p>
            <a:r>
              <a:rPr lang="en-GB"/>
              <a:t>LSTM – Daily (1).</a:t>
            </a:r>
            <a:endParaRPr lang="LID4096"/>
          </a:p>
        </p:txBody>
      </p:sp>
      <p:pic>
        <p:nvPicPr>
          <p:cNvPr id="5" name="Grafik 4">
            <a:extLst>
              <a:ext uri="{FF2B5EF4-FFF2-40B4-BE49-F238E27FC236}">
                <a16:creationId xmlns:a16="http://schemas.microsoft.com/office/drawing/2014/main" id="{387E3F0B-29BB-4D9A-B07D-E1ECC1117052}"/>
              </a:ext>
            </a:extLst>
          </p:cNvPr>
          <p:cNvPicPr>
            <a:picLocks noChangeAspect="1"/>
          </p:cNvPicPr>
          <p:nvPr/>
        </p:nvPicPr>
        <p:blipFill>
          <a:blip r:embed="rId3"/>
          <a:stretch>
            <a:fillRect/>
          </a:stretch>
        </p:blipFill>
        <p:spPr>
          <a:xfrm>
            <a:off x="128544" y="2540243"/>
            <a:ext cx="5967456" cy="3114698"/>
          </a:xfrm>
          <a:prstGeom prst="rect">
            <a:avLst/>
          </a:prstGeom>
        </p:spPr>
      </p:pic>
      <p:pic>
        <p:nvPicPr>
          <p:cNvPr id="11" name="Grafik 10">
            <a:extLst>
              <a:ext uri="{FF2B5EF4-FFF2-40B4-BE49-F238E27FC236}">
                <a16:creationId xmlns:a16="http://schemas.microsoft.com/office/drawing/2014/main" id="{D327EF69-2BBA-435B-9A21-F8F7254786C7}"/>
              </a:ext>
            </a:extLst>
          </p:cNvPr>
          <p:cNvPicPr>
            <a:picLocks noChangeAspect="1"/>
          </p:cNvPicPr>
          <p:nvPr/>
        </p:nvPicPr>
        <p:blipFill>
          <a:blip r:embed="rId4"/>
          <a:stretch>
            <a:fillRect/>
          </a:stretch>
        </p:blipFill>
        <p:spPr>
          <a:xfrm>
            <a:off x="6305849" y="2540243"/>
            <a:ext cx="5757607" cy="3114698"/>
          </a:xfrm>
          <a:prstGeom prst="rect">
            <a:avLst/>
          </a:prstGeom>
        </p:spPr>
      </p:pic>
      <p:sp>
        <p:nvSpPr>
          <p:cNvPr id="12" name="Textplatzhalter 2">
            <a:extLst>
              <a:ext uri="{FF2B5EF4-FFF2-40B4-BE49-F238E27FC236}">
                <a16:creationId xmlns:a16="http://schemas.microsoft.com/office/drawing/2014/main" id="{41232EB3-2186-4ECD-8682-4EA4A8C1DC4F}"/>
              </a:ext>
            </a:extLst>
          </p:cNvPr>
          <p:cNvSpPr txBox="1">
            <a:spLocks/>
          </p:cNvSpPr>
          <p:nvPr/>
        </p:nvSpPr>
        <p:spPr>
          <a:xfrm>
            <a:off x="469106" y="1405014"/>
            <a:ext cx="5157787" cy="823912"/>
          </a:xfrm>
          <a:prstGeom prst="rect">
            <a:avLst/>
          </a:prstGeom>
        </p:spPr>
        <p:txBody>
          <a:bodyPr>
            <a:norm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968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968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968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968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9682"/>
                </a:solidFill>
                <a:latin typeface="+mn-lt"/>
                <a:ea typeface="+mn-ea"/>
                <a:cs typeface="+mn-cs"/>
                <a:sym typeface="Trebuchet MS" panose="020B0603020202020204" pitchFamily="34" charset="0"/>
              </a:defRPr>
            </a:lvl9pPr>
          </a:lstStyle>
          <a:p>
            <a:r>
              <a:rPr lang="de-DE" sz="1400"/>
              <a:t>Training </a:t>
            </a:r>
            <a:r>
              <a:rPr lang="de-DE" sz="1400" err="1"/>
              <a:t>set</a:t>
            </a:r>
            <a:r>
              <a:rPr lang="de-DE" sz="1400"/>
              <a:t>: 09/05/2020 – 29/01/2021</a:t>
            </a:r>
          </a:p>
          <a:p>
            <a:r>
              <a:rPr lang="de-DE" sz="1400"/>
              <a:t>Test </a:t>
            </a:r>
            <a:r>
              <a:rPr lang="de-DE" sz="1400" err="1"/>
              <a:t>set</a:t>
            </a:r>
            <a:r>
              <a:rPr lang="de-DE" sz="1400"/>
              <a:t>: 01/02/2021 – 08/05/2021</a:t>
            </a:r>
          </a:p>
        </p:txBody>
      </p:sp>
      <p:sp>
        <p:nvSpPr>
          <p:cNvPr id="14" name="Textplatzhalter 2">
            <a:extLst>
              <a:ext uri="{FF2B5EF4-FFF2-40B4-BE49-F238E27FC236}">
                <a16:creationId xmlns:a16="http://schemas.microsoft.com/office/drawing/2014/main" id="{8CC65623-1D82-497A-8CF7-B145A355C0C5}"/>
              </a:ext>
            </a:extLst>
          </p:cNvPr>
          <p:cNvSpPr txBox="1">
            <a:spLocks/>
          </p:cNvSpPr>
          <p:nvPr/>
        </p:nvSpPr>
        <p:spPr>
          <a:xfrm>
            <a:off x="2631281" y="5966258"/>
            <a:ext cx="5157787" cy="472642"/>
          </a:xfrm>
          <a:prstGeom prst="rect">
            <a:avLst/>
          </a:prstGeom>
        </p:spPr>
        <p:txBody>
          <a:bodyPr>
            <a:norm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968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968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968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968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9682"/>
                </a:solidFill>
                <a:latin typeface="+mn-lt"/>
                <a:ea typeface="+mn-ea"/>
                <a:cs typeface="+mn-cs"/>
                <a:sym typeface="Trebuchet MS" panose="020B0603020202020204" pitchFamily="34" charset="0"/>
              </a:defRPr>
            </a:lvl9pPr>
          </a:lstStyle>
          <a:p>
            <a:r>
              <a:rPr lang="de-DE"/>
              <a:t>MAE: 17.26</a:t>
            </a:r>
          </a:p>
        </p:txBody>
      </p:sp>
      <p:sp>
        <p:nvSpPr>
          <p:cNvPr id="8" name="Textplatzhalter 2">
            <a:extLst>
              <a:ext uri="{FF2B5EF4-FFF2-40B4-BE49-F238E27FC236}">
                <a16:creationId xmlns:a16="http://schemas.microsoft.com/office/drawing/2014/main" id="{3EA19CE4-9EDD-40E7-883C-24462249F645}"/>
              </a:ext>
            </a:extLst>
          </p:cNvPr>
          <p:cNvSpPr txBox="1">
            <a:spLocks/>
          </p:cNvSpPr>
          <p:nvPr/>
        </p:nvSpPr>
        <p:spPr>
          <a:xfrm>
            <a:off x="5522589" y="1405014"/>
            <a:ext cx="5157787" cy="823912"/>
          </a:xfrm>
          <a:prstGeom prst="rect">
            <a:avLst/>
          </a:prstGeom>
        </p:spPr>
        <p:txBody>
          <a:bodyPr>
            <a:noAutofit/>
          </a:bodyPr>
          <a:lstStyle>
            <a:defPPr>
              <a:defRPr lang="en-US"/>
            </a:defPPr>
            <a:lvl1pPr indent="0">
              <a:lnSpc>
                <a:spcPct val="110000"/>
              </a:lnSpc>
              <a:spcBef>
                <a:spcPts val="600"/>
              </a:spcBef>
              <a:spcAft>
                <a:spcPts val="300"/>
              </a:spcAft>
              <a:buFont typeface="Arial" panose="020B0604020202020204" pitchFamily="34" charset="0"/>
              <a:buChar char="​"/>
              <a:defRPr sz="1400"/>
            </a:lvl1pPr>
            <a:lvl2pPr marL="284400" indent="-172800">
              <a:lnSpc>
                <a:spcPct val="90000"/>
              </a:lnSpc>
              <a:spcBef>
                <a:spcPts val="0"/>
              </a:spcBef>
              <a:spcAft>
                <a:spcPts val="300"/>
              </a:spcAft>
              <a:buClr>
                <a:srgbClr val="009682"/>
              </a:buClr>
              <a:buFont typeface="Arial" panose="020B0604020202020204" pitchFamily="34" charset="0"/>
              <a:buChar char="•"/>
              <a:defRPr sz="1200"/>
            </a:lvl2pPr>
            <a:lvl3pPr marL="511200" indent="-165600">
              <a:lnSpc>
                <a:spcPct val="90000"/>
              </a:lnSpc>
              <a:spcBef>
                <a:spcPts val="0"/>
              </a:spcBef>
              <a:spcAft>
                <a:spcPts val="300"/>
              </a:spcAft>
              <a:buClr>
                <a:schemeClr val="tx2"/>
              </a:buClr>
              <a:buFont typeface="Trebuchet MS" panose="020B0603020202020204" pitchFamily="34" charset="0"/>
              <a:buChar char="–"/>
              <a:defRPr sz="1200"/>
            </a:lvl3pPr>
            <a:lvl4pPr marL="0" indent="0">
              <a:lnSpc>
                <a:spcPct val="110000"/>
              </a:lnSpc>
              <a:spcBef>
                <a:spcPts val="300"/>
              </a:spcBef>
              <a:spcAft>
                <a:spcPts val="300"/>
              </a:spcAft>
              <a:buClr>
                <a:schemeClr val="tx2"/>
              </a:buClr>
              <a:buFont typeface="Arial" panose="020B0604020202020204" pitchFamily="34" charset="0"/>
              <a:buChar char="​"/>
              <a:defRPr sz="1600">
                <a:solidFill>
                  <a:srgbClr val="009682"/>
                </a:solidFill>
              </a:defRPr>
            </a:lvl4pPr>
            <a:lvl5pPr marL="0" indent="0">
              <a:lnSpc>
                <a:spcPct val="100000"/>
              </a:lnSpc>
              <a:spcBef>
                <a:spcPts val="0"/>
              </a:spcBef>
              <a:spcAft>
                <a:spcPts val="300"/>
              </a:spcAft>
              <a:buClrTx/>
              <a:buFont typeface="Arial" panose="020B0604020202020204" pitchFamily="34" charset="0"/>
              <a:buChar char="​"/>
              <a:defRPr sz="1600" b="1"/>
            </a:lvl5pPr>
            <a:lvl6pPr marL="269875" indent="-152400">
              <a:lnSpc>
                <a:spcPct val="90000"/>
              </a:lnSpc>
              <a:spcBef>
                <a:spcPts val="0"/>
              </a:spcBef>
              <a:spcAft>
                <a:spcPts val="600"/>
              </a:spcAft>
              <a:buClr>
                <a:srgbClr val="00968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rgbClr val="009682"/>
                </a:solidFill>
              </a:defRPr>
            </a:lvl8pPr>
            <a:lvl9pPr marL="0" indent="0">
              <a:lnSpc>
                <a:spcPct val="100000"/>
              </a:lnSpc>
              <a:spcBef>
                <a:spcPts val="0"/>
              </a:spcBef>
              <a:spcAft>
                <a:spcPts val="900"/>
              </a:spcAft>
              <a:buFont typeface="Arial" panose="020B0604020202020204" pitchFamily="34" charset="0"/>
              <a:buChar char="​"/>
              <a:defRPr sz="2400" baseline="0">
                <a:solidFill>
                  <a:srgbClr val="009682"/>
                </a:solidFill>
              </a:defRPr>
            </a:lvl9pPr>
          </a:lstStyle>
          <a:p>
            <a:r>
              <a:rPr lang="de-DE" err="1"/>
              <a:t>Epochs</a:t>
            </a:r>
            <a:r>
              <a:rPr lang="de-DE"/>
              <a:t>: 1400</a:t>
            </a:r>
          </a:p>
          <a:p>
            <a:r>
              <a:rPr lang="de-DE"/>
              <a:t>Batch </a:t>
            </a:r>
            <a:r>
              <a:rPr lang="de-DE" err="1"/>
              <a:t>size</a:t>
            </a:r>
            <a:r>
              <a:rPr lang="de-DE"/>
              <a:t>: 16</a:t>
            </a:r>
          </a:p>
          <a:p>
            <a:r>
              <a:rPr lang="de-DE"/>
              <a:t>Time lag: 6</a:t>
            </a:r>
          </a:p>
        </p:txBody>
      </p:sp>
    </p:spTree>
    <p:extLst>
      <p:ext uri="{BB962C8B-B14F-4D97-AF65-F5344CB8AC3E}">
        <p14:creationId xmlns:p14="http://schemas.microsoft.com/office/powerpoint/2010/main" val="17492325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C4011A-D604-40E4-8903-BB01B5C72AF3}"/>
              </a:ext>
            </a:extLst>
          </p:cNvPr>
          <p:cNvSpPr>
            <a:spLocks noGrp="1"/>
          </p:cNvSpPr>
          <p:nvPr>
            <p:ph type="title"/>
          </p:nvPr>
        </p:nvSpPr>
        <p:spPr/>
        <p:txBody>
          <a:bodyPr/>
          <a:lstStyle/>
          <a:p>
            <a:r>
              <a:rPr lang="de-DE"/>
              <a:t>LSTM – Evaluation.</a:t>
            </a:r>
          </a:p>
        </p:txBody>
      </p:sp>
      <p:sp>
        <p:nvSpPr>
          <p:cNvPr id="4" name="Textplatzhalter 2">
            <a:extLst>
              <a:ext uri="{FF2B5EF4-FFF2-40B4-BE49-F238E27FC236}">
                <a16:creationId xmlns:a16="http://schemas.microsoft.com/office/drawing/2014/main" id="{2C84062E-923A-4B84-8F0C-3488023EC727}"/>
              </a:ext>
            </a:extLst>
          </p:cNvPr>
          <p:cNvSpPr txBox="1">
            <a:spLocks/>
          </p:cNvSpPr>
          <p:nvPr/>
        </p:nvSpPr>
        <p:spPr>
          <a:xfrm>
            <a:off x="1398683" y="2107454"/>
            <a:ext cx="5157787" cy="342411"/>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968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968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968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968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9682"/>
                </a:solidFill>
                <a:latin typeface="+mn-lt"/>
                <a:ea typeface="+mn-ea"/>
                <a:cs typeface="+mn-cs"/>
                <a:sym typeface="Trebuchet MS" panose="020B0603020202020204" pitchFamily="34" charset="0"/>
              </a:defRPr>
            </a:lvl9pPr>
          </a:lstStyle>
          <a:p>
            <a:pPr>
              <a:buNone/>
            </a:pPr>
            <a:r>
              <a:rPr lang="de-DE" sz="1600"/>
              <a:t>Processing time</a:t>
            </a:r>
          </a:p>
        </p:txBody>
      </p:sp>
      <p:pic>
        <p:nvPicPr>
          <p:cNvPr id="5" name="Grafik 5">
            <a:extLst>
              <a:ext uri="{FF2B5EF4-FFF2-40B4-BE49-F238E27FC236}">
                <a16:creationId xmlns:a16="http://schemas.microsoft.com/office/drawing/2014/main" id="{BDF9306A-60E7-4000-986B-CFF25FAE1222}"/>
              </a:ext>
            </a:extLst>
          </p:cNvPr>
          <p:cNvPicPr>
            <a:picLocks noChangeAspect="1"/>
          </p:cNvPicPr>
          <p:nvPr/>
        </p:nvPicPr>
        <p:blipFill>
          <a:blip r:embed="rId2"/>
          <a:stretch>
            <a:fillRect/>
          </a:stretch>
        </p:blipFill>
        <p:spPr>
          <a:xfrm>
            <a:off x="5127076" y="2449865"/>
            <a:ext cx="6781800" cy="3351827"/>
          </a:xfrm>
          <a:prstGeom prst="rect">
            <a:avLst/>
          </a:prstGeom>
        </p:spPr>
      </p:pic>
      <p:pic>
        <p:nvPicPr>
          <p:cNvPr id="6" name="Grafik 6" descr="Ein Bild, das Tisch enthält.&#10;&#10;Beschreibung automatisch generiert.">
            <a:extLst>
              <a:ext uri="{FF2B5EF4-FFF2-40B4-BE49-F238E27FC236}">
                <a16:creationId xmlns:a16="http://schemas.microsoft.com/office/drawing/2014/main" id="{D489673F-DF8A-4F30-AB58-BBED4406DFD0}"/>
              </a:ext>
            </a:extLst>
          </p:cNvPr>
          <p:cNvPicPr>
            <a:picLocks noChangeAspect="1"/>
          </p:cNvPicPr>
          <p:nvPr/>
        </p:nvPicPr>
        <p:blipFill>
          <a:blip r:embed="rId3"/>
          <a:stretch>
            <a:fillRect/>
          </a:stretch>
        </p:blipFill>
        <p:spPr>
          <a:xfrm>
            <a:off x="172590" y="2449865"/>
            <a:ext cx="4686107" cy="2463779"/>
          </a:xfrm>
          <a:prstGeom prst="rect">
            <a:avLst/>
          </a:prstGeom>
        </p:spPr>
      </p:pic>
      <p:sp>
        <p:nvSpPr>
          <p:cNvPr id="7" name="Textplatzhalter 2">
            <a:extLst>
              <a:ext uri="{FF2B5EF4-FFF2-40B4-BE49-F238E27FC236}">
                <a16:creationId xmlns:a16="http://schemas.microsoft.com/office/drawing/2014/main" id="{87C8A570-BB2E-481D-BADE-8D0F24818827}"/>
              </a:ext>
            </a:extLst>
          </p:cNvPr>
          <p:cNvSpPr txBox="1">
            <a:spLocks/>
          </p:cNvSpPr>
          <p:nvPr/>
        </p:nvSpPr>
        <p:spPr>
          <a:xfrm>
            <a:off x="7248499" y="2614385"/>
            <a:ext cx="5157787" cy="472642"/>
          </a:xfrm>
          <a:prstGeom prst="rect">
            <a:avLst/>
          </a:prstGeom>
        </p:spPr>
        <p:txBody>
          <a:bodyPr>
            <a:norm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968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968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968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968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9682"/>
                </a:solidFill>
                <a:latin typeface="+mn-lt"/>
                <a:ea typeface="+mn-ea"/>
                <a:cs typeface="+mn-cs"/>
                <a:sym typeface="Trebuchet MS" panose="020B0603020202020204" pitchFamily="34" charset="0"/>
              </a:defRPr>
            </a:lvl9pPr>
          </a:lstStyle>
          <a:p>
            <a:r>
              <a:rPr lang="de-DE" sz="1600"/>
              <a:t>Loss = </a:t>
            </a:r>
            <a:r>
              <a:rPr lang="de-DE" sz="1600" err="1"/>
              <a:t>normalized</a:t>
            </a:r>
            <a:r>
              <a:rPr lang="de-DE" sz="1600"/>
              <a:t> RMSE</a:t>
            </a:r>
          </a:p>
        </p:txBody>
      </p:sp>
    </p:spTree>
    <p:extLst>
      <p:ext uri="{BB962C8B-B14F-4D97-AF65-F5344CB8AC3E}">
        <p14:creationId xmlns:p14="http://schemas.microsoft.com/office/powerpoint/2010/main" val="14890691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40D52-CAF7-46D5-9BE7-77616DCDC369}"/>
              </a:ext>
            </a:extLst>
          </p:cNvPr>
          <p:cNvSpPr>
            <a:spLocks noGrp="1"/>
          </p:cNvSpPr>
          <p:nvPr>
            <p:ph type="title"/>
          </p:nvPr>
        </p:nvSpPr>
        <p:spPr>
          <a:xfrm>
            <a:off x="630000" y="622800"/>
            <a:ext cx="3127881" cy="1495794"/>
          </a:xfrm>
        </p:spPr>
        <p:txBody>
          <a:bodyPr anchor="t"/>
          <a:lstStyle/>
          <a:p>
            <a:r>
              <a:rPr lang="en-US" sz="4800"/>
              <a:t>4</a:t>
            </a:r>
            <a:br>
              <a:rPr lang="en-US" sz="4800"/>
            </a:br>
            <a:r>
              <a:rPr lang="en-US" sz="4800"/>
              <a:t>Prototype</a:t>
            </a:r>
            <a:br>
              <a:rPr lang="en-US" sz="4800"/>
            </a:br>
            <a:r>
              <a:rPr lang="en-US" sz="4800"/>
              <a:t>&amp;</a:t>
            </a:r>
            <a:br>
              <a:rPr lang="en-US" sz="4800"/>
            </a:br>
            <a:r>
              <a:rPr lang="en-US" sz="4800"/>
              <a:t>Outcome</a:t>
            </a:r>
          </a:p>
        </p:txBody>
      </p:sp>
      <p:sp>
        <p:nvSpPr>
          <p:cNvPr id="4" name="Title 1">
            <a:extLst>
              <a:ext uri="{FF2B5EF4-FFF2-40B4-BE49-F238E27FC236}">
                <a16:creationId xmlns:a16="http://schemas.microsoft.com/office/drawing/2014/main" id="{AE84365F-945A-4B25-BB47-3C21A70520BB}"/>
              </a:ext>
            </a:extLst>
          </p:cNvPr>
          <p:cNvSpPr txBox="1">
            <a:spLocks/>
          </p:cNvSpPr>
          <p:nvPr/>
        </p:nvSpPr>
        <p:spPr>
          <a:xfrm>
            <a:off x="3264846" y="961466"/>
            <a:ext cx="7061021" cy="941795"/>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endParaRPr lang="en-US">
              <a:solidFill>
                <a:srgbClr val="009682"/>
              </a:solidFill>
            </a:endParaRPr>
          </a:p>
        </p:txBody>
      </p:sp>
      <p:sp>
        <p:nvSpPr>
          <p:cNvPr id="27" name="Textfeld 26">
            <a:extLst>
              <a:ext uri="{FF2B5EF4-FFF2-40B4-BE49-F238E27FC236}">
                <a16:creationId xmlns:a16="http://schemas.microsoft.com/office/drawing/2014/main" id="{BFE28822-2483-EC44-90BE-03040373488F}"/>
              </a:ext>
            </a:extLst>
          </p:cNvPr>
          <p:cNvSpPr txBox="1"/>
          <p:nvPr/>
        </p:nvSpPr>
        <p:spPr>
          <a:xfrm>
            <a:off x="1989438" y="22489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Tree>
    <p:extLst>
      <p:ext uri="{BB962C8B-B14F-4D97-AF65-F5344CB8AC3E}">
        <p14:creationId xmlns:p14="http://schemas.microsoft.com/office/powerpoint/2010/main" val="225581857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19B9B-9193-4140-874C-B30196EB1CEF}"/>
              </a:ext>
            </a:extLst>
          </p:cNvPr>
          <p:cNvSpPr>
            <a:spLocks noGrp="1"/>
          </p:cNvSpPr>
          <p:nvPr>
            <p:ph type="title"/>
          </p:nvPr>
        </p:nvSpPr>
        <p:spPr>
          <a:xfrm>
            <a:off x="630000" y="622800"/>
            <a:ext cx="10933200" cy="470898"/>
          </a:xfrm>
        </p:spPr>
        <p:txBody>
          <a:bodyPr/>
          <a:lstStyle/>
          <a:p>
            <a:r>
              <a:rPr lang="en-GB"/>
              <a:t>Live Demo.</a:t>
            </a:r>
            <a:endParaRPr lang="LID4096"/>
          </a:p>
        </p:txBody>
      </p:sp>
    </p:spTree>
    <p:extLst>
      <p:ext uri="{BB962C8B-B14F-4D97-AF65-F5344CB8AC3E}">
        <p14:creationId xmlns:p14="http://schemas.microsoft.com/office/powerpoint/2010/main" val="22752179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DD524C-EB46-4822-8BB8-54481945EA34}"/>
              </a:ext>
            </a:extLst>
          </p:cNvPr>
          <p:cNvSpPr>
            <a:spLocks noGrp="1"/>
          </p:cNvSpPr>
          <p:nvPr>
            <p:ph type="title"/>
          </p:nvPr>
        </p:nvSpPr>
        <p:spPr>
          <a:xfrm>
            <a:off x="364314" y="584850"/>
            <a:ext cx="2708004" cy="1314311"/>
          </a:xfrm>
        </p:spPr>
        <p:txBody>
          <a:bodyPr/>
          <a:lstStyle/>
          <a:p>
            <a:br>
              <a:rPr lang="de-DE"/>
            </a:br>
            <a:r>
              <a:rPr lang="de-DE"/>
              <a:t>BUSINESS VALUE</a:t>
            </a:r>
            <a:endParaRPr lang="LID4096"/>
          </a:p>
        </p:txBody>
      </p:sp>
      <p:sp>
        <p:nvSpPr>
          <p:cNvPr id="2" name="AutoShape 2">
            <a:extLst>
              <a:ext uri="{FF2B5EF4-FFF2-40B4-BE49-F238E27FC236}">
                <a16:creationId xmlns:a16="http://schemas.microsoft.com/office/drawing/2014/main" id="{3EB5A483-2D21-4BE5-BCA0-470C6A92EC48}"/>
              </a:ext>
            </a:extLst>
          </p:cNvPr>
          <p:cNvSpPr>
            <a:spLocks noChangeAspect="1" noChangeArrowheads="1"/>
          </p:cNvSpPr>
          <p:nvPr/>
        </p:nvSpPr>
        <p:spPr bwMode="auto">
          <a:xfrm>
            <a:off x="18415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 name="AutoShape 3">
            <a:extLst>
              <a:ext uri="{FF2B5EF4-FFF2-40B4-BE49-F238E27FC236}">
                <a16:creationId xmlns:a16="http://schemas.microsoft.com/office/drawing/2014/main" id="{558CC063-EE89-4615-A299-CBC908415E95}"/>
              </a:ext>
            </a:extLst>
          </p:cNvPr>
          <p:cNvSpPr>
            <a:spLocks noChangeAspect="1" noChangeArrowheads="1"/>
          </p:cNvSpPr>
          <p:nvPr/>
        </p:nvSpPr>
        <p:spPr bwMode="auto">
          <a:xfrm>
            <a:off x="6445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 name="AutoShape 4">
            <a:extLst>
              <a:ext uri="{FF2B5EF4-FFF2-40B4-BE49-F238E27FC236}">
                <a16:creationId xmlns:a16="http://schemas.microsoft.com/office/drawing/2014/main" id="{E0C205C6-1A1D-4193-A688-D85B1AA67156}"/>
              </a:ext>
            </a:extLst>
          </p:cNvPr>
          <p:cNvSpPr>
            <a:spLocks noChangeAspect="1" noChangeArrowheads="1"/>
          </p:cNvSpPr>
          <p:nvPr/>
        </p:nvSpPr>
        <p:spPr bwMode="auto">
          <a:xfrm>
            <a:off x="11049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 name="AutoShape 5">
            <a:extLst>
              <a:ext uri="{FF2B5EF4-FFF2-40B4-BE49-F238E27FC236}">
                <a16:creationId xmlns:a16="http://schemas.microsoft.com/office/drawing/2014/main" id="{F4FC91CC-437F-41BD-8869-8334F341BD09}"/>
              </a:ext>
            </a:extLst>
          </p:cNvPr>
          <p:cNvSpPr>
            <a:spLocks noChangeAspect="1" noChangeArrowheads="1"/>
          </p:cNvSpPr>
          <p:nvPr/>
        </p:nvSpPr>
        <p:spPr bwMode="auto">
          <a:xfrm>
            <a:off x="15652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 name="AutoShape 6">
            <a:extLst>
              <a:ext uri="{FF2B5EF4-FFF2-40B4-BE49-F238E27FC236}">
                <a16:creationId xmlns:a16="http://schemas.microsoft.com/office/drawing/2014/main" id="{1742647B-9463-4334-95B3-78A1D2F90F62}"/>
              </a:ext>
            </a:extLst>
          </p:cNvPr>
          <p:cNvSpPr>
            <a:spLocks noChangeAspect="1" noChangeArrowheads="1"/>
          </p:cNvSpPr>
          <p:nvPr/>
        </p:nvSpPr>
        <p:spPr bwMode="auto">
          <a:xfrm>
            <a:off x="202565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 name="AutoShape 7">
            <a:extLst>
              <a:ext uri="{FF2B5EF4-FFF2-40B4-BE49-F238E27FC236}">
                <a16:creationId xmlns:a16="http://schemas.microsoft.com/office/drawing/2014/main" id="{FE0FB2B8-561D-4FBC-BDFF-3E376F28E040}"/>
              </a:ext>
            </a:extLst>
          </p:cNvPr>
          <p:cNvSpPr>
            <a:spLocks noChangeAspect="1" noChangeArrowheads="1"/>
          </p:cNvSpPr>
          <p:nvPr/>
        </p:nvSpPr>
        <p:spPr bwMode="auto">
          <a:xfrm>
            <a:off x="24860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 name="AutoShape 8">
            <a:extLst>
              <a:ext uri="{FF2B5EF4-FFF2-40B4-BE49-F238E27FC236}">
                <a16:creationId xmlns:a16="http://schemas.microsoft.com/office/drawing/2014/main" id="{592C1B18-AF73-46E2-B1B8-D9768647828F}"/>
              </a:ext>
            </a:extLst>
          </p:cNvPr>
          <p:cNvSpPr>
            <a:spLocks noChangeAspect="1" noChangeArrowheads="1"/>
          </p:cNvSpPr>
          <p:nvPr/>
        </p:nvSpPr>
        <p:spPr bwMode="auto">
          <a:xfrm>
            <a:off x="29464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 name="Title 2">
            <a:extLst>
              <a:ext uri="{FF2B5EF4-FFF2-40B4-BE49-F238E27FC236}">
                <a16:creationId xmlns:a16="http://schemas.microsoft.com/office/drawing/2014/main" id="{8FDBE87C-FA8B-4CD0-93C8-CB9A505BB9F0}"/>
              </a:ext>
            </a:extLst>
          </p:cNvPr>
          <p:cNvSpPr txBox="1">
            <a:spLocks/>
          </p:cNvSpPr>
          <p:nvPr/>
        </p:nvSpPr>
        <p:spPr>
          <a:xfrm>
            <a:off x="367973" y="4363415"/>
            <a:ext cx="2708004" cy="1314311"/>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3200" kern="1200" baseline="0">
                <a:solidFill>
                  <a:srgbClr val="FFFFFF"/>
                </a:solidFill>
                <a:latin typeface="+mj-lt"/>
                <a:ea typeface="+mj-ea"/>
                <a:cs typeface="+mj-cs"/>
                <a:sym typeface="Trebuchet MS" panose="020B0603020202020204" pitchFamily="34" charset="0"/>
              </a:defRPr>
            </a:lvl1pPr>
          </a:lstStyle>
          <a:p>
            <a:r>
              <a:rPr lang="de-DE"/>
              <a:t>NEXT STEP</a:t>
            </a:r>
            <a:endParaRPr lang="LID4096"/>
          </a:p>
        </p:txBody>
      </p:sp>
      <p:pic>
        <p:nvPicPr>
          <p:cNvPr id="21505" name="Picture 21504" descr="Shape, arrow&#10;&#10;Description automatically generated">
            <a:extLst>
              <a:ext uri="{FF2B5EF4-FFF2-40B4-BE49-F238E27FC236}">
                <a16:creationId xmlns:a16="http://schemas.microsoft.com/office/drawing/2014/main" id="{60941F53-0A45-4CA9-A6E8-532696FA481B}"/>
              </a:ext>
            </a:extLst>
          </p:cNvPr>
          <p:cNvPicPr>
            <a:picLocks noChangeAspect="1"/>
          </p:cNvPicPr>
          <p:nvPr/>
        </p:nvPicPr>
        <p:blipFill>
          <a:blip r:embed="rId3"/>
          <a:stretch>
            <a:fillRect/>
          </a:stretch>
        </p:blipFill>
        <p:spPr>
          <a:xfrm rot="2940956">
            <a:off x="3996738" y="4945349"/>
            <a:ext cx="500354" cy="497766"/>
          </a:xfrm>
          <a:prstGeom prst="rect">
            <a:avLst/>
          </a:prstGeom>
        </p:spPr>
      </p:pic>
      <p:pic>
        <p:nvPicPr>
          <p:cNvPr id="96" name="Picture 95" descr="Shape, arrow&#10;&#10;Description automatically generated">
            <a:extLst>
              <a:ext uri="{FF2B5EF4-FFF2-40B4-BE49-F238E27FC236}">
                <a16:creationId xmlns:a16="http://schemas.microsoft.com/office/drawing/2014/main" id="{C0B73522-4100-469D-AC51-3476A4480636}"/>
              </a:ext>
            </a:extLst>
          </p:cNvPr>
          <p:cNvPicPr>
            <a:picLocks noChangeAspect="1"/>
          </p:cNvPicPr>
          <p:nvPr/>
        </p:nvPicPr>
        <p:blipFill>
          <a:blip r:embed="rId3"/>
          <a:stretch>
            <a:fillRect/>
          </a:stretch>
        </p:blipFill>
        <p:spPr>
          <a:xfrm rot="2388049">
            <a:off x="4113189" y="4557642"/>
            <a:ext cx="500354" cy="497766"/>
          </a:xfrm>
          <a:prstGeom prst="rect">
            <a:avLst/>
          </a:prstGeom>
        </p:spPr>
      </p:pic>
      <p:cxnSp>
        <p:nvCxnSpPr>
          <p:cNvPr id="100" name="Straight Connector 99">
            <a:extLst>
              <a:ext uri="{FF2B5EF4-FFF2-40B4-BE49-F238E27FC236}">
                <a16:creationId xmlns:a16="http://schemas.microsoft.com/office/drawing/2014/main" id="{1DD84321-F25B-4D18-A28C-FACB3906AE61}"/>
              </a:ext>
            </a:extLst>
          </p:cNvPr>
          <p:cNvCxnSpPr>
            <a:cxnSpLocks/>
          </p:cNvCxnSpPr>
          <p:nvPr/>
        </p:nvCxnSpPr>
        <p:spPr>
          <a:xfrm>
            <a:off x="4749332" y="3892291"/>
            <a:ext cx="0" cy="2027476"/>
          </a:xfrm>
          <a:prstGeom prst="line">
            <a:avLst/>
          </a:prstGeom>
          <a:ln w="28575" cap="rnd" cmpd="sng" algn="ctr">
            <a:solidFill>
              <a:srgbClr val="00968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3085B56C-2559-4BC9-9FFA-E1B18236D796}"/>
              </a:ext>
            </a:extLst>
          </p:cNvPr>
          <p:cNvSpPr/>
          <p:nvPr/>
        </p:nvSpPr>
        <p:spPr>
          <a:xfrm>
            <a:off x="4700128" y="818209"/>
            <a:ext cx="6418694" cy="203132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93700" lvl="1" indent="-285750">
              <a:buSzPct val="100000"/>
              <a:buFont typeface="Arial" panose="020B0604020202020204" pitchFamily="34" charset="0"/>
              <a:buChar char="•"/>
            </a:pPr>
            <a:endParaRPr lang="en-GB" sz="1400">
              <a:solidFill>
                <a:schemeClr val="tx1">
                  <a:lumMod val="100000"/>
                </a:schemeClr>
              </a:solidFill>
              <a:latin typeface="Trebuchet MS" panose="020B0603020202020204" pitchFamily="34" charset="0"/>
            </a:endParaRPr>
          </a:p>
          <a:p>
            <a:pPr marL="393700" lvl="1" indent="-285750">
              <a:buSzPct val="100000"/>
              <a:buFont typeface="Arial" panose="020B0604020202020204" pitchFamily="34" charset="0"/>
              <a:buChar char="•"/>
            </a:pPr>
            <a:endParaRPr lang="en-GB" sz="1400">
              <a:solidFill>
                <a:schemeClr val="tx1">
                  <a:lumMod val="100000"/>
                </a:schemeClr>
              </a:solidFill>
              <a:latin typeface="Trebuchet MS" panose="020B0603020202020204" pitchFamily="34" charset="0"/>
            </a:endParaRPr>
          </a:p>
          <a:p>
            <a:pPr marL="107950" lvl="1">
              <a:buSzPct val="100000"/>
            </a:pPr>
            <a:endParaRPr lang="en-GB" sz="1400">
              <a:solidFill>
                <a:schemeClr val="tx1">
                  <a:lumMod val="100000"/>
                </a:schemeClr>
              </a:solidFill>
              <a:latin typeface="Trebuchet MS" panose="020B0603020202020204" pitchFamily="34" charset="0"/>
            </a:endParaRPr>
          </a:p>
          <a:p>
            <a:pPr marL="393700" lvl="1" indent="-285750">
              <a:buSzPct val="100000"/>
              <a:buFont typeface="Arial" panose="020B0604020202020204" pitchFamily="34" charset="0"/>
              <a:buChar char="•"/>
            </a:pPr>
            <a:endParaRPr lang="en-GB" sz="1400">
              <a:solidFill>
                <a:schemeClr val="tx1">
                  <a:lumMod val="100000"/>
                </a:schemeClr>
              </a:solidFill>
              <a:latin typeface="Trebuchet MS" panose="020B0603020202020204" pitchFamily="34" charset="0"/>
            </a:endParaRPr>
          </a:p>
          <a:p>
            <a:pPr marL="393700" lvl="1" indent="-285750">
              <a:buSzPct val="100000"/>
              <a:buFont typeface="Arial" panose="020B0604020202020204" pitchFamily="34" charset="0"/>
              <a:buChar char="•"/>
            </a:pPr>
            <a:endParaRPr lang="en-GB" sz="1400">
              <a:solidFill>
                <a:schemeClr val="tx1">
                  <a:lumMod val="100000"/>
                </a:schemeClr>
              </a:solidFill>
              <a:latin typeface="Trebuchet MS" panose="020B0603020202020204" pitchFamily="34" charset="0"/>
            </a:endParaRPr>
          </a:p>
          <a:p>
            <a:pPr marL="393700" lvl="1" indent="-285750">
              <a:buSzPct val="100000"/>
              <a:buFont typeface="Arial" panose="020B0604020202020204" pitchFamily="34" charset="0"/>
              <a:buChar char="•"/>
            </a:pPr>
            <a:endParaRPr lang="en-GB" sz="1400">
              <a:solidFill>
                <a:schemeClr val="tx1">
                  <a:lumMod val="100000"/>
                </a:schemeClr>
              </a:solidFill>
              <a:latin typeface="Trebuchet MS" panose="020B0603020202020204" pitchFamily="34" charset="0"/>
            </a:endParaRPr>
          </a:p>
          <a:p>
            <a:pPr marL="107950" lvl="1">
              <a:buClr>
                <a:schemeClr val="tx2">
                  <a:lumMod val="100000"/>
                </a:schemeClr>
              </a:buClr>
              <a:buSzPct val="100000"/>
            </a:pPr>
            <a:endParaRPr lang="en-GB" sz="1400">
              <a:solidFill>
                <a:schemeClr val="tx1">
                  <a:lumMod val="100000"/>
                </a:schemeClr>
              </a:solidFill>
              <a:latin typeface="Trebuchet MS" panose="020B0603020202020204" pitchFamily="34" charset="0"/>
            </a:endParaRPr>
          </a:p>
          <a:p>
            <a:pPr marL="107950" lvl="1">
              <a:buClr>
                <a:schemeClr val="tx2">
                  <a:lumMod val="100000"/>
                </a:schemeClr>
              </a:buClr>
              <a:buSzPct val="100000"/>
            </a:pPr>
            <a:endParaRPr lang="en-GB" sz="1400">
              <a:solidFill>
                <a:schemeClr val="tx1">
                  <a:lumMod val="100000"/>
                </a:schemeClr>
              </a:solidFill>
              <a:latin typeface="Trebuchet MS" panose="020B0603020202020204" pitchFamily="34" charset="0"/>
            </a:endParaRPr>
          </a:p>
          <a:p>
            <a:pPr marL="107950" lvl="1">
              <a:buClr>
                <a:schemeClr val="tx2">
                  <a:lumMod val="100000"/>
                </a:schemeClr>
              </a:buClr>
              <a:buSzPct val="100000"/>
            </a:pPr>
            <a:endParaRPr lang="de-DE" sz="1400">
              <a:solidFill>
                <a:schemeClr val="tx1">
                  <a:lumMod val="100000"/>
                </a:schemeClr>
              </a:solidFill>
              <a:latin typeface="Trebuchet MS" panose="020B0603020202020204" pitchFamily="34" charset="0"/>
            </a:endParaRPr>
          </a:p>
        </p:txBody>
      </p:sp>
      <p:cxnSp>
        <p:nvCxnSpPr>
          <p:cNvPr id="77" name="Straight Connector 76">
            <a:extLst>
              <a:ext uri="{FF2B5EF4-FFF2-40B4-BE49-F238E27FC236}">
                <a16:creationId xmlns:a16="http://schemas.microsoft.com/office/drawing/2014/main" id="{0951FCDB-52C1-4B97-83AD-723C84587C3F}"/>
              </a:ext>
            </a:extLst>
          </p:cNvPr>
          <p:cNvCxnSpPr>
            <a:cxnSpLocks/>
          </p:cNvCxnSpPr>
          <p:nvPr/>
        </p:nvCxnSpPr>
        <p:spPr>
          <a:xfrm>
            <a:off x="4742991" y="584850"/>
            <a:ext cx="0" cy="1575546"/>
          </a:xfrm>
          <a:prstGeom prst="line">
            <a:avLst/>
          </a:prstGeom>
          <a:ln w="28575" cap="rnd" cmpd="sng" algn="ctr">
            <a:solidFill>
              <a:srgbClr val="00968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5F69EF1F-F50C-4B14-B6D0-537B1396717C}"/>
              </a:ext>
            </a:extLst>
          </p:cNvPr>
          <p:cNvSpPr txBox="1"/>
          <p:nvPr/>
        </p:nvSpPr>
        <p:spPr>
          <a:xfrm>
            <a:off x="5140400" y="689335"/>
            <a:ext cx="6683625" cy="20313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de-DE">
                <a:solidFill>
                  <a:srgbClr val="575757"/>
                </a:solidFill>
                <a:ea typeface="+mn-lt"/>
                <a:cs typeface="+mn-lt"/>
              </a:rPr>
              <a:t>-</a:t>
            </a:r>
            <a:r>
              <a:rPr lang="de-DE" err="1">
                <a:solidFill>
                  <a:srgbClr val="575757"/>
                </a:solidFill>
                <a:ea typeface="+mn-lt"/>
                <a:cs typeface="+mn-lt"/>
              </a:rPr>
              <a:t>Retrieving</a:t>
            </a:r>
            <a:r>
              <a:rPr lang="de-DE">
                <a:solidFill>
                  <a:srgbClr val="575757"/>
                </a:solidFill>
                <a:ea typeface="+mn-lt"/>
                <a:cs typeface="+mn-lt"/>
              </a:rPr>
              <a:t> optimal </a:t>
            </a:r>
            <a:r>
              <a:rPr lang="de-DE" err="1">
                <a:solidFill>
                  <a:srgbClr val="575757"/>
                </a:solidFill>
                <a:ea typeface="+mn-lt"/>
                <a:cs typeface="+mn-lt"/>
              </a:rPr>
              <a:t>emptiyng</a:t>
            </a:r>
            <a:r>
              <a:rPr lang="de-DE">
                <a:solidFill>
                  <a:srgbClr val="575757"/>
                </a:solidFill>
                <a:ea typeface="+mn-lt"/>
                <a:cs typeface="+mn-lt"/>
              </a:rPr>
              <a:t> </a:t>
            </a:r>
            <a:r>
              <a:rPr lang="de-DE" err="1">
                <a:solidFill>
                  <a:srgbClr val="575757"/>
                </a:solidFill>
                <a:ea typeface="+mn-lt"/>
                <a:cs typeface="+mn-lt"/>
              </a:rPr>
              <a:t>intervalls</a:t>
            </a:r>
            <a:r>
              <a:rPr lang="de-DE">
                <a:solidFill>
                  <a:srgbClr val="575757"/>
                </a:solidFill>
                <a:ea typeface="+mn-lt"/>
                <a:cs typeface="+mn-lt"/>
              </a:rPr>
              <a:t> </a:t>
            </a:r>
            <a:r>
              <a:rPr lang="de-DE" err="1">
                <a:solidFill>
                  <a:srgbClr val="575757"/>
                </a:solidFill>
                <a:ea typeface="+mn-lt"/>
                <a:cs typeface="+mn-lt"/>
              </a:rPr>
              <a:t>based</a:t>
            </a:r>
            <a:r>
              <a:rPr lang="de-DE">
                <a:solidFill>
                  <a:srgbClr val="575757"/>
                </a:solidFill>
                <a:ea typeface="+mn-lt"/>
                <a:cs typeface="+mn-lt"/>
              </a:rPr>
              <a:t> on </a:t>
            </a:r>
            <a:r>
              <a:rPr lang="de-DE" err="1">
                <a:solidFill>
                  <a:srgbClr val="575757"/>
                </a:solidFill>
                <a:ea typeface="+mn-lt"/>
                <a:cs typeface="+mn-lt"/>
              </a:rPr>
              <a:t>exact</a:t>
            </a:r>
            <a:r>
              <a:rPr lang="de-DE">
                <a:solidFill>
                  <a:srgbClr val="575757"/>
                </a:solidFill>
                <a:ea typeface="+mn-lt"/>
                <a:cs typeface="+mn-lt"/>
              </a:rPr>
              <a:t> </a:t>
            </a:r>
            <a:r>
              <a:rPr lang="de-DE" err="1">
                <a:solidFill>
                  <a:srgbClr val="575757"/>
                </a:solidFill>
                <a:ea typeface="+mn-lt"/>
                <a:cs typeface="+mn-lt"/>
              </a:rPr>
              <a:t>prediction</a:t>
            </a:r>
            <a:r>
              <a:rPr lang="de-DE">
                <a:solidFill>
                  <a:srgbClr val="575757"/>
                </a:solidFill>
                <a:ea typeface="+mn-lt"/>
                <a:cs typeface="+mn-lt"/>
              </a:rPr>
              <a:t> </a:t>
            </a:r>
            <a:r>
              <a:rPr lang="de-DE" err="1">
                <a:solidFill>
                  <a:srgbClr val="575757"/>
                </a:solidFill>
                <a:ea typeface="+mn-lt"/>
                <a:cs typeface="+mn-lt"/>
              </a:rPr>
              <a:t>of</a:t>
            </a:r>
            <a:r>
              <a:rPr lang="de-DE">
                <a:solidFill>
                  <a:srgbClr val="575757"/>
                </a:solidFill>
                <a:ea typeface="+mn-lt"/>
                <a:cs typeface="+mn-lt"/>
              </a:rPr>
              <a:t> </a:t>
            </a:r>
            <a:r>
              <a:rPr lang="de-DE" err="1">
                <a:solidFill>
                  <a:srgbClr val="575757"/>
                </a:solidFill>
                <a:ea typeface="+mn-lt"/>
                <a:cs typeface="+mn-lt"/>
              </a:rPr>
              <a:t>filling</a:t>
            </a:r>
            <a:r>
              <a:rPr lang="de-DE">
                <a:solidFill>
                  <a:srgbClr val="575757"/>
                </a:solidFill>
                <a:ea typeface="+mn-lt"/>
                <a:cs typeface="+mn-lt"/>
              </a:rPr>
              <a:t> </a:t>
            </a:r>
            <a:r>
              <a:rPr lang="de-DE" err="1">
                <a:solidFill>
                  <a:srgbClr val="575757"/>
                </a:solidFill>
                <a:ea typeface="+mn-lt"/>
                <a:cs typeface="+mn-lt"/>
              </a:rPr>
              <a:t>behaviour</a:t>
            </a:r>
            <a:r>
              <a:rPr lang="de-DE">
                <a:solidFill>
                  <a:srgbClr val="575757"/>
                </a:solidFill>
                <a:ea typeface="+mn-lt"/>
                <a:cs typeface="+mn-lt"/>
              </a:rPr>
              <a:t>.</a:t>
            </a:r>
          </a:p>
          <a:p>
            <a:endParaRPr lang="de-DE">
              <a:solidFill>
                <a:srgbClr val="575757"/>
              </a:solidFill>
              <a:ea typeface="+mn-lt"/>
              <a:cs typeface="+mn-lt"/>
            </a:endParaRPr>
          </a:p>
          <a:p>
            <a:r>
              <a:rPr lang="de-DE">
                <a:solidFill>
                  <a:srgbClr val="575757"/>
                </a:solidFill>
                <a:ea typeface="+mn-lt"/>
                <a:cs typeface="+mn-lt"/>
              </a:rPr>
              <a:t>-Avoid </a:t>
            </a:r>
            <a:r>
              <a:rPr lang="de-DE" err="1">
                <a:solidFill>
                  <a:srgbClr val="575757"/>
                </a:solidFill>
                <a:ea typeface="+mn-lt"/>
                <a:cs typeface="+mn-lt"/>
              </a:rPr>
              <a:t>unnecessary</a:t>
            </a:r>
            <a:r>
              <a:rPr lang="de-DE">
                <a:solidFill>
                  <a:srgbClr val="575757"/>
                </a:solidFill>
                <a:ea typeface="+mn-lt"/>
                <a:cs typeface="+mn-lt"/>
              </a:rPr>
              <a:t> </a:t>
            </a:r>
            <a:r>
              <a:rPr lang="de-DE" err="1">
                <a:solidFill>
                  <a:srgbClr val="575757"/>
                </a:solidFill>
                <a:ea typeface="+mn-lt"/>
                <a:cs typeface="+mn-lt"/>
              </a:rPr>
              <a:t>emptyings</a:t>
            </a:r>
            <a:endParaRPr lang="de-DE">
              <a:solidFill>
                <a:srgbClr val="575757"/>
              </a:solidFill>
              <a:ea typeface="+mn-lt"/>
              <a:cs typeface="+mn-lt"/>
            </a:endParaRPr>
          </a:p>
          <a:p>
            <a:endParaRPr lang="de-DE">
              <a:solidFill>
                <a:srgbClr val="575757"/>
              </a:solidFill>
              <a:ea typeface="+mn-lt"/>
              <a:cs typeface="+mn-lt"/>
            </a:endParaRPr>
          </a:p>
          <a:p>
            <a:endParaRPr lang="de-DE">
              <a:solidFill>
                <a:srgbClr val="575757"/>
              </a:solidFill>
            </a:endParaRPr>
          </a:p>
          <a:p>
            <a:endParaRPr lang="de-DE">
              <a:solidFill>
                <a:srgbClr val="575757"/>
              </a:solidFill>
            </a:endParaRPr>
          </a:p>
        </p:txBody>
      </p:sp>
      <p:sp>
        <p:nvSpPr>
          <p:cNvPr id="18" name="Textfeld 17">
            <a:extLst>
              <a:ext uri="{FF2B5EF4-FFF2-40B4-BE49-F238E27FC236}">
                <a16:creationId xmlns:a16="http://schemas.microsoft.com/office/drawing/2014/main" id="{6BCD6841-7808-4F70-B542-6CF30F6D6981}"/>
              </a:ext>
            </a:extLst>
          </p:cNvPr>
          <p:cNvSpPr txBox="1"/>
          <p:nvPr/>
        </p:nvSpPr>
        <p:spPr>
          <a:xfrm>
            <a:off x="5140401" y="3751868"/>
            <a:ext cx="6683625" cy="230832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de-DE">
                <a:solidFill>
                  <a:srgbClr val="575757"/>
                </a:solidFill>
              </a:rPr>
              <a:t>-</a:t>
            </a:r>
            <a:r>
              <a:rPr lang="de-DE" err="1">
                <a:solidFill>
                  <a:srgbClr val="575757"/>
                </a:solidFill>
              </a:rPr>
              <a:t>Enrich</a:t>
            </a:r>
            <a:r>
              <a:rPr lang="de-DE">
                <a:solidFill>
                  <a:srgbClr val="575757"/>
                </a:solidFill>
              </a:rPr>
              <a:t> GUI with </a:t>
            </a:r>
            <a:r>
              <a:rPr lang="de-DE" err="1">
                <a:solidFill>
                  <a:srgbClr val="575757"/>
                </a:solidFill>
              </a:rPr>
              <a:t>more</a:t>
            </a:r>
            <a:r>
              <a:rPr lang="de-DE">
                <a:solidFill>
                  <a:srgbClr val="575757"/>
                </a:solidFill>
              </a:rPr>
              <a:t> </a:t>
            </a:r>
            <a:r>
              <a:rPr lang="de-DE" err="1">
                <a:solidFill>
                  <a:srgbClr val="575757"/>
                </a:solidFill>
              </a:rPr>
              <a:t>features</a:t>
            </a:r>
            <a:r>
              <a:rPr lang="de-DE">
                <a:solidFill>
                  <a:srgbClr val="575757"/>
                </a:solidFill>
              </a:rPr>
              <a:t> </a:t>
            </a:r>
          </a:p>
          <a:p>
            <a:endParaRPr lang="de-DE">
              <a:solidFill>
                <a:srgbClr val="575757"/>
              </a:solidFill>
            </a:endParaRPr>
          </a:p>
          <a:p>
            <a:r>
              <a:rPr lang="de-DE">
                <a:solidFill>
                  <a:srgbClr val="575757"/>
                </a:solidFill>
              </a:rPr>
              <a:t>-Implement </a:t>
            </a:r>
            <a:r>
              <a:rPr lang="de-DE" err="1">
                <a:solidFill>
                  <a:srgbClr val="575757"/>
                </a:solidFill>
              </a:rPr>
              <a:t>results</a:t>
            </a:r>
            <a:r>
              <a:rPr lang="de-DE">
                <a:solidFill>
                  <a:srgbClr val="575757"/>
                </a:solidFill>
              </a:rPr>
              <a:t>/</a:t>
            </a:r>
            <a:r>
              <a:rPr lang="de-DE" err="1">
                <a:solidFill>
                  <a:srgbClr val="575757"/>
                </a:solidFill>
              </a:rPr>
              <a:t>tool</a:t>
            </a:r>
            <a:r>
              <a:rPr lang="de-DE">
                <a:solidFill>
                  <a:srgbClr val="575757"/>
                </a:solidFill>
              </a:rPr>
              <a:t> in </a:t>
            </a:r>
            <a:r>
              <a:rPr lang="de-DE" err="1">
                <a:solidFill>
                  <a:srgbClr val="575757"/>
                </a:solidFill>
              </a:rPr>
              <a:t>daily</a:t>
            </a:r>
            <a:r>
              <a:rPr lang="de-DE">
                <a:solidFill>
                  <a:srgbClr val="575757"/>
                </a:solidFill>
              </a:rPr>
              <a:t> </a:t>
            </a:r>
            <a:r>
              <a:rPr lang="de-DE" err="1">
                <a:solidFill>
                  <a:srgbClr val="575757"/>
                </a:solidFill>
              </a:rPr>
              <a:t>working</a:t>
            </a:r>
            <a:r>
              <a:rPr lang="de-DE">
                <a:solidFill>
                  <a:srgbClr val="575757"/>
                </a:solidFill>
              </a:rPr>
              <a:t> </a:t>
            </a:r>
            <a:r>
              <a:rPr lang="de-DE" err="1">
                <a:solidFill>
                  <a:srgbClr val="575757"/>
                </a:solidFill>
              </a:rPr>
              <a:t>routine</a:t>
            </a:r>
            <a:endParaRPr lang="de-DE">
              <a:solidFill>
                <a:srgbClr val="575757"/>
              </a:solidFill>
            </a:endParaRPr>
          </a:p>
          <a:p>
            <a:endParaRPr lang="de-DE">
              <a:solidFill>
                <a:srgbClr val="575757"/>
              </a:solidFill>
            </a:endParaRPr>
          </a:p>
          <a:p>
            <a:r>
              <a:rPr lang="de-DE">
                <a:solidFill>
                  <a:srgbClr val="575757"/>
                </a:solidFill>
              </a:rPr>
              <a:t>-</a:t>
            </a:r>
            <a:r>
              <a:rPr lang="de-DE" err="1">
                <a:solidFill>
                  <a:srgbClr val="575757"/>
                </a:solidFill>
              </a:rPr>
              <a:t>Optimizing</a:t>
            </a:r>
            <a:r>
              <a:rPr lang="de-DE">
                <a:solidFill>
                  <a:srgbClr val="575757"/>
                </a:solidFill>
              </a:rPr>
              <a:t> </a:t>
            </a:r>
            <a:r>
              <a:rPr lang="de-DE" err="1">
                <a:solidFill>
                  <a:srgbClr val="575757"/>
                </a:solidFill>
              </a:rPr>
              <a:t>the</a:t>
            </a:r>
            <a:r>
              <a:rPr lang="de-DE">
                <a:solidFill>
                  <a:srgbClr val="575757"/>
                </a:solidFill>
              </a:rPr>
              <a:t> </a:t>
            </a:r>
            <a:r>
              <a:rPr lang="de-DE" err="1">
                <a:solidFill>
                  <a:srgbClr val="575757"/>
                </a:solidFill>
              </a:rPr>
              <a:t>driving</a:t>
            </a:r>
            <a:r>
              <a:rPr lang="de-DE">
                <a:solidFill>
                  <a:srgbClr val="575757"/>
                </a:solidFill>
              </a:rPr>
              <a:t> </a:t>
            </a:r>
            <a:r>
              <a:rPr lang="de-DE" err="1">
                <a:solidFill>
                  <a:srgbClr val="575757"/>
                </a:solidFill>
              </a:rPr>
              <a:t>routes</a:t>
            </a:r>
            <a:endParaRPr lang="de-DE">
              <a:solidFill>
                <a:srgbClr val="575757"/>
              </a:solidFill>
            </a:endParaRPr>
          </a:p>
          <a:p>
            <a:endParaRPr lang="de-DE">
              <a:solidFill>
                <a:srgbClr val="575757"/>
              </a:solidFill>
            </a:endParaRPr>
          </a:p>
          <a:p>
            <a:r>
              <a:rPr lang="de-DE">
                <a:solidFill>
                  <a:srgbClr val="575757"/>
                </a:solidFill>
              </a:rPr>
              <a:t>…</a:t>
            </a:r>
          </a:p>
          <a:p>
            <a:endParaRPr lang="de-DE"/>
          </a:p>
        </p:txBody>
      </p:sp>
      <p:pic>
        <p:nvPicPr>
          <p:cNvPr id="13" name="Grafik 12" descr="Ausgezeichnet Silhouette">
            <a:extLst>
              <a:ext uri="{FF2B5EF4-FFF2-40B4-BE49-F238E27FC236}">
                <a16:creationId xmlns:a16="http://schemas.microsoft.com/office/drawing/2014/main" id="{267BBF8B-4B80-4FD8-815F-71B3F6E943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94956" y="1071162"/>
            <a:ext cx="704174" cy="704174"/>
          </a:xfrm>
          <a:prstGeom prst="rect">
            <a:avLst/>
          </a:prstGeom>
        </p:spPr>
      </p:pic>
    </p:spTree>
    <p:extLst>
      <p:ext uri="{BB962C8B-B14F-4D97-AF65-F5344CB8AC3E}">
        <p14:creationId xmlns:p14="http://schemas.microsoft.com/office/powerpoint/2010/main" val="9480106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abgerundete Ecken 5">
            <a:extLst>
              <a:ext uri="{FF2B5EF4-FFF2-40B4-BE49-F238E27FC236}">
                <a16:creationId xmlns:a16="http://schemas.microsoft.com/office/drawing/2014/main" id="{D58EB601-A87F-48F6-A7DC-FA6D971695DA}"/>
              </a:ext>
            </a:extLst>
          </p:cNvPr>
          <p:cNvSpPr/>
          <p:nvPr/>
        </p:nvSpPr>
        <p:spPr>
          <a:xfrm>
            <a:off x="1493177" y="5577836"/>
            <a:ext cx="9205644" cy="914400"/>
          </a:xfrm>
          <a:prstGeom prst="roundRect">
            <a:avLst/>
          </a:prstGeom>
          <a:solidFill>
            <a:srgbClr val="0C8C7A"/>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2" name="Title 1">
            <a:extLst>
              <a:ext uri="{FF2B5EF4-FFF2-40B4-BE49-F238E27FC236}">
                <a16:creationId xmlns:a16="http://schemas.microsoft.com/office/drawing/2014/main" id="{DE519B9B-9193-4140-874C-B30196EB1CEF}"/>
              </a:ext>
            </a:extLst>
          </p:cNvPr>
          <p:cNvSpPr>
            <a:spLocks noGrp="1"/>
          </p:cNvSpPr>
          <p:nvPr>
            <p:ph type="title"/>
          </p:nvPr>
        </p:nvSpPr>
        <p:spPr>
          <a:xfrm>
            <a:off x="1236924" y="622800"/>
            <a:ext cx="10326275" cy="470898"/>
          </a:xfrm>
        </p:spPr>
        <p:txBody>
          <a:bodyPr/>
          <a:lstStyle/>
          <a:p>
            <a:r>
              <a:rPr lang="en-GB"/>
              <a:t>Alternative Idea.</a:t>
            </a:r>
          </a:p>
        </p:txBody>
      </p:sp>
      <p:sp>
        <p:nvSpPr>
          <p:cNvPr id="3" name="Textfeld 2">
            <a:extLst>
              <a:ext uri="{FF2B5EF4-FFF2-40B4-BE49-F238E27FC236}">
                <a16:creationId xmlns:a16="http://schemas.microsoft.com/office/drawing/2014/main" id="{AB10CF39-9DF2-44A0-AD56-DA427741F6FD}"/>
              </a:ext>
            </a:extLst>
          </p:cNvPr>
          <p:cNvSpPr txBox="1"/>
          <p:nvPr/>
        </p:nvSpPr>
        <p:spPr>
          <a:xfrm>
            <a:off x="3909407" y="1780912"/>
            <a:ext cx="4373185"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de-DE" sz="2400">
                <a:solidFill>
                  <a:srgbClr val="575757"/>
                </a:solidFill>
              </a:rPr>
              <a:t>Track </a:t>
            </a:r>
            <a:r>
              <a:rPr lang="de-DE" sz="2400" err="1">
                <a:solidFill>
                  <a:srgbClr val="575757"/>
                </a:solidFill>
              </a:rPr>
              <a:t>weight</a:t>
            </a:r>
            <a:r>
              <a:rPr lang="de-DE" sz="2400">
                <a:solidFill>
                  <a:srgbClr val="575757"/>
                </a:solidFill>
              </a:rPr>
              <a:t> </a:t>
            </a:r>
            <a:r>
              <a:rPr lang="de-DE" sz="2400" err="1">
                <a:solidFill>
                  <a:srgbClr val="575757"/>
                </a:solidFill>
              </a:rPr>
              <a:t>instead</a:t>
            </a:r>
            <a:r>
              <a:rPr lang="de-DE" sz="2400">
                <a:solidFill>
                  <a:srgbClr val="575757"/>
                </a:solidFill>
              </a:rPr>
              <a:t> </a:t>
            </a:r>
            <a:r>
              <a:rPr lang="de-DE" sz="2400" err="1">
                <a:solidFill>
                  <a:srgbClr val="575757"/>
                </a:solidFill>
              </a:rPr>
              <a:t>of</a:t>
            </a:r>
            <a:r>
              <a:rPr lang="de-DE" sz="2400">
                <a:solidFill>
                  <a:srgbClr val="575757"/>
                </a:solidFill>
              </a:rPr>
              <a:t> </a:t>
            </a:r>
            <a:r>
              <a:rPr lang="de-DE" sz="2400" err="1">
                <a:solidFill>
                  <a:srgbClr val="575757"/>
                </a:solidFill>
              </a:rPr>
              <a:t>height</a:t>
            </a:r>
            <a:endParaRPr lang="de-DE" sz="2400">
              <a:solidFill>
                <a:srgbClr val="575757"/>
              </a:solidFill>
            </a:endParaRPr>
          </a:p>
        </p:txBody>
      </p:sp>
      <p:pic>
        <p:nvPicPr>
          <p:cNvPr id="5" name="Grafik 4" descr="Waage der Justitia mit einfarbiger Füllung">
            <a:extLst>
              <a:ext uri="{FF2B5EF4-FFF2-40B4-BE49-F238E27FC236}">
                <a16:creationId xmlns:a16="http://schemas.microsoft.com/office/drawing/2014/main" id="{73E0ABE0-00B4-4711-8434-04FF7DF4B6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05119" y="3027063"/>
            <a:ext cx="914400" cy="914400"/>
          </a:xfrm>
          <a:prstGeom prst="rect">
            <a:avLst/>
          </a:prstGeom>
        </p:spPr>
      </p:pic>
      <p:pic>
        <p:nvPicPr>
          <p:cNvPr id="4" name="Grafik 4" descr="Ein Bild, das blau enthält.&#10;&#10;Beschreibung automatisch generiert.">
            <a:extLst>
              <a:ext uri="{FF2B5EF4-FFF2-40B4-BE49-F238E27FC236}">
                <a16:creationId xmlns:a16="http://schemas.microsoft.com/office/drawing/2014/main" id="{762D51C1-13C7-49BC-8EBC-C8D12F6E4173}"/>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4580" b="94275" l="5363" r="95584">
                        <a14:foregroundMark x1="38486" y1="55725" x2="69085" y2="83588"/>
                        <a14:foregroundMark x1="35016" y1="90840" x2="60252" y2="88168"/>
                        <a14:foregroundMark x1="60252" y1="88168" x2="79811" y2="94656"/>
                        <a14:foregroundMark x1="79811" y1="94656" x2="79811" y2="94275"/>
                        <a14:foregroundMark x1="91483" y1="92366" x2="92744" y2="88931"/>
                        <a14:foregroundMark x1="95899" y1="92748" x2="95899" y2="92748"/>
                        <a14:foregroundMark x1="82334" y1="7252" x2="64669" y2="10687"/>
                        <a14:foregroundMark x1="64669" y1="10687" x2="20820" y2="9542"/>
                        <a14:foregroundMark x1="20820" y1="9542" x2="26183" y2="33588"/>
                        <a14:foregroundMark x1="26183" y1="33588" x2="47003" y2="55725"/>
                        <a14:foregroundMark x1="47003" y1="55725" x2="46057" y2="79008"/>
                        <a14:foregroundMark x1="46057" y1="79008" x2="60568" y2="60305"/>
                        <a14:foregroundMark x1="60568" y1="60305" x2="60252" y2="60687"/>
                        <a14:foregroundMark x1="17981" y1="19466" x2="15457" y2="10305"/>
                        <a14:foregroundMark x1="17035" y1="6489" x2="31230" y2="18702"/>
                        <a14:foregroundMark x1="24606" y1="6489" x2="29338" y2="8397"/>
                        <a14:foregroundMark x1="5678" y1="90458" x2="5678" y2="90458"/>
                        <a14:foregroundMark x1="47003" y1="6107" x2="47003" y2="6107"/>
                        <a14:foregroundMark x1="51104" y1="4580" x2="52681" y2="7634"/>
                        <a14:foregroundMark x1="60568" y1="93511" x2="37224" y2="94275"/>
                        <a14:foregroundMark x1="41956" y1="69084" x2="47319" y2="79389"/>
                        <a14:foregroundMark x1="49211" y1="82443" x2="49842" y2="81298"/>
                      </a14:backgroundRemoval>
                    </a14:imgEffect>
                  </a14:imgLayer>
                </a14:imgProps>
              </a:ext>
            </a:extLst>
          </a:blip>
          <a:stretch>
            <a:fillRect/>
          </a:stretch>
        </p:blipFill>
        <p:spPr>
          <a:xfrm>
            <a:off x="5846442" y="2704325"/>
            <a:ext cx="631808" cy="521547"/>
          </a:xfrm>
          <a:prstGeom prst="rect">
            <a:avLst/>
          </a:prstGeom>
        </p:spPr>
      </p:pic>
      <p:pic>
        <p:nvPicPr>
          <p:cNvPr id="7" name="Grafik 6" descr="Lichter an mit einfarbiger Füllung">
            <a:extLst>
              <a:ext uri="{FF2B5EF4-FFF2-40B4-BE49-F238E27FC236}">
                <a16:creationId xmlns:a16="http://schemas.microsoft.com/office/drawing/2014/main" id="{0C431501-3FDA-4D8F-BE0D-68849BBB08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4275" y="497047"/>
            <a:ext cx="692649" cy="692649"/>
          </a:xfrm>
          <a:prstGeom prst="rect">
            <a:avLst/>
          </a:prstGeom>
        </p:spPr>
      </p:pic>
      <p:sp>
        <p:nvSpPr>
          <p:cNvPr id="8" name="Textfeld 7">
            <a:extLst>
              <a:ext uri="{FF2B5EF4-FFF2-40B4-BE49-F238E27FC236}">
                <a16:creationId xmlns:a16="http://schemas.microsoft.com/office/drawing/2014/main" id="{3C246047-BAB2-4BB7-A4A8-DE98D4FB4A6D}"/>
              </a:ext>
            </a:extLst>
          </p:cNvPr>
          <p:cNvSpPr txBox="1"/>
          <p:nvPr/>
        </p:nvSpPr>
        <p:spPr>
          <a:xfrm>
            <a:off x="7879021" y="3815407"/>
            <a:ext cx="284404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de-DE">
                <a:solidFill>
                  <a:srgbClr val="575757"/>
                </a:solidFill>
              </a:rPr>
              <a:t>- </a:t>
            </a:r>
            <a:r>
              <a:rPr lang="de-DE" err="1">
                <a:solidFill>
                  <a:srgbClr val="575757"/>
                </a:solidFill>
              </a:rPr>
              <a:t>possibly</a:t>
            </a:r>
            <a:r>
              <a:rPr lang="de-DE">
                <a:solidFill>
                  <a:srgbClr val="575757"/>
                </a:solidFill>
              </a:rPr>
              <a:t> </a:t>
            </a:r>
            <a:r>
              <a:rPr lang="de-DE" err="1">
                <a:solidFill>
                  <a:srgbClr val="575757"/>
                </a:solidFill>
              </a:rPr>
              <a:t>more</a:t>
            </a:r>
            <a:r>
              <a:rPr lang="de-DE">
                <a:solidFill>
                  <a:srgbClr val="575757"/>
                </a:solidFill>
              </a:rPr>
              <a:t> expensive</a:t>
            </a:r>
          </a:p>
        </p:txBody>
      </p:sp>
      <p:sp>
        <p:nvSpPr>
          <p:cNvPr id="9" name="Textfeld 8">
            <a:extLst>
              <a:ext uri="{FF2B5EF4-FFF2-40B4-BE49-F238E27FC236}">
                <a16:creationId xmlns:a16="http://schemas.microsoft.com/office/drawing/2014/main" id="{CF272F4E-51FA-4746-A1D1-97CFE860C151}"/>
              </a:ext>
            </a:extLst>
          </p:cNvPr>
          <p:cNvSpPr txBox="1"/>
          <p:nvPr/>
        </p:nvSpPr>
        <p:spPr>
          <a:xfrm>
            <a:off x="544275" y="3815407"/>
            <a:ext cx="4815742" cy="92333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de-DE">
                <a:solidFill>
                  <a:srgbClr val="575757"/>
                </a:solidFill>
              </a:rPr>
              <a:t>+ </a:t>
            </a:r>
            <a:r>
              <a:rPr lang="de-DE" err="1">
                <a:solidFill>
                  <a:srgbClr val="575757"/>
                </a:solidFill>
              </a:rPr>
              <a:t>possibly</a:t>
            </a:r>
            <a:r>
              <a:rPr lang="de-DE">
                <a:solidFill>
                  <a:srgbClr val="575757"/>
                </a:solidFill>
              </a:rPr>
              <a:t> </a:t>
            </a:r>
            <a:r>
              <a:rPr lang="de-DE" err="1">
                <a:solidFill>
                  <a:srgbClr val="575757"/>
                </a:solidFill>
              </a:rPr>
              <a:t>more</a:t>
            </a:r>
            <a:r>
              <a:rPr lang="de-DE">
                <a:solidFill>
                  <a:srgbClr val="575757"/>
                </a:solidFill>
              </a:rPr>
              <a:t> </a:t>
            </a:r>
            <a:r>
              <a:rPr lang="de-DE" err="1">
                <a:solidFill>
                  <a:srgbClr val="575757"/>
                </a:solidFill>
              </a:rPr>
              <a:t>exact</a:t>
            </a:r>
            <a:endParaRPr lang="de-DE">
              <a:solidFill>
                <a:srgbClr val="575757"/>
              </a:solidFill>
            </a:endParaRPr>
          </a:p>
          <a:p>
            <a:r>
              <a:rPr lang="de-DE">
                <a:solidFill>
                  <a:srgbClr val="575757"/>
                </a:solidFill>
              </a:rPr>
              <a:t>+ </a:t>
            </a:r>
            <a:r>
              <a:rPr lang="de-DE" err="1">
                <a:solidFill>
                  <a:srgbClr val="575757"/>
                </a:solidFill>
              </a:rPr>
              <a:t>less</a:t>
            </a:r>
            <a:r>
              <a:rPr lang="de-DE">
                <a:solidFill>
                  <a:srgbClr val="575757"/>
                </a:solidFill>
              </a:rPr>
              <a:t> </a:t>
            </a:r>
            <a:r>
              <a:rPr lang="de-DE" err="1">
                <a:solidFill>
                  <a:srgbClr val="575757"/>
                </a:solidFill>
              </a:rPr>
              <a:t>fluctiation</a:t>
            </a:r>
            <a:endParaRPr lang="de-DE">
              <a:solidFill>
                <a:srgbClr val="575757"/>
              </a:solidFill>
            </a:endParaRPr>
          </a:p>
          <a:p>
            <a:r>
              <a:rPr lang="de-DE">
                <a:solidFill>
                  <a:srgbClr val="575757"/>
                </a:solidFill>
              </a:rPr>
              <a:t>+ </a:t>
            </a:r>
            <a:r>
              <a:rPr lang="de-DE" err="1">
                <a:solidFill>
                  <a:srgbClr val="575757"/>
                </a:solidFill>
              </a:rPr>
              <a:t>no</a:t>
            </a:r>
            <a:r>
              <a:rPr lang="de-DE">
                <a:solidFill>
                  <a:srgbClr val="575757"/>
                </a:solidFill>
              </a:rPr>
              <a:t> </a:t>
            </a:r>
            <a:r>
              <a:rPr lang="de-DE" err="1">
                <a:solidFill>
                  <a:srgbClr val="575757"/>
                </a:solidFill>
              </a:rPr>
              <a:t>consideration</a:t>
            </a:r>
            <a:r>
              <a:rPr lang="de-DE">
                <a:solidFill>
                  <a:srgbClr val="575757"/>
                </a:solidFill>
              </a:rPr>
              <a:t> </a:t>
            </a:r>
            <a:r>
              <a:rPr lang="de-DE" err="1">
                <a:solidFill>
                  <a:srgbClr val="575757"/>
                </a:solidFill>
              </a:rPr>
              <a:t>of</a:t>
            </a:r>
            <a:r>
              <a:rPr lang="de-DE">
                <a:solidFill>
                  <a:srgbClr val="575757"/>
                </a:solidFill>
              </a:rPr>
              <a:t> </a:t>
            </a:r>
            <a:r>
              <a:rPr lang="de-DE" err="1">
                <a:solidFill>
                  <a:srgbClr val="575757"/>
                </a:solidFill>
              </a:rPr>
              <a:t>collapsing</a:t>
            </a:r>
            <a:r>
              <a:rPr lang="de-DE">
                <a:solidFill>
                  <a:srgbClr val="575757"/>
                </a:solidFill>
              </a:rPr>
              <a:t> </a:t>
            </a:r>
            <a:r>
              <a:rPr lang="de-DE" err="1">
                <a:solidFill>
                  <a:srgbClr val="575757"/>
                </a:solidFill>
              </a:rPr>
              <a:t>trash</a:t>
            </a:r>
            <a:r>
              <a:rPr lang="de-DE">
                <a:solidFill>
                  <a:srgbClr val="575757"/>
                </a:solidFill>
              </a:rPr>
              <a:t> </a:t>
            </a:r>
            <a:r>
              <a:rPr lang="de-DE" err="1">
                <a:solidFill>
                  <a:srgbClr val="575757"/>
                </a:solidFill>
              </a:rPr>
              <a:t>towers</a:t>
            </a:r>
            <a:endParaRPr lang="de-DE">
              <a:solidFill>
                <a:srgbClr val="575757"/>
              </a:solidFill>
            </a:endParaRPr>
          </a:p>
        </p:txBody>
      </p:sp>
      <p:sp>
        <p:nvSpPr>
          <p:cNvPr id="10" name="Textfeld 9">
            <a:extLst>
              <a:ext uri="{FF2B5EF4-FFF2-40B4-BE49-F238E27FC236}">
                <a16:creationId xmlns:a16="http://schemas.microsoft.com/office/drawing/2014/main" id="{BE07E446-64AA-4EE3-A673-A104542BFAFD}"/>
              </a:ext>
            </a:extLst>
          </p:cNvPr>
          <p:cNvSpPr txBox="1"/>
          <p:nvPr/>
        </p:nvSpPr>
        <p:spPr>
          <a:xfrm>
            <a:off x="2065088" y="5881138"/>
            <a:ext cx="8061822"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de-DE" err="1">
                <a:solidFill>
                  <a:schemeClr val="bg1"/>
                </a:solidFill>
              </a:rPr>
              <a:t>Fluctuation</a:t>
            </a:r>
            <a:r>
              <a:rPr lang="de-DE">
                <a:solidFill>
                  <a:schemeClr val="bg1"/>
                </a:solidFill>
              </a:rPr>
              <a:t> </a:t>
            </a:r>
            <a:r>
              <a:rPr lang="de-DE" err="1">
                <a:solidFill>
                  <a:schemeClr val="bg1"/>
                </a:solidFill>
              </a:rPr>
              <a:t>of</a:t>
            </a:r>
            <a:r>
              <a:rPr lang="de-DE">
                <a:solidFill>
                  <a:schemeClr val="bg1"/>
                </a:solidFill>
              </a:rPr>
              <a:t> </a:t>
            </a:r>
            <a:r>
              <a:rPr lang="de-DE" err="1">
                <a:solidFill>
                  <a:schemeClr val="bg1"/>
                </a:solidFill>
              </a:rPr>
              <a:t>visual</a:t>
            </a:r>
            <a:r>
              <a:rPr lang="de-DE">
                <a:solidFill>
                  <a:schemeClr val="bg1"/>
                </a:solidFill>
              </a:rPr>
              <a:t> </a:t>
            </a:r>
            <a:r>
              <a:rPr lang="de-DE" err="1">
                <a:solidFill>
                  <a:schemeClr val="bg1"/>
                </a:solidFill>
              </a:rPr>
              <a:t>measurement</a:t>
            </a:r>
            <a:r>
              <a:rPr lang="de-DE">
                <a:solidFill>
                  <a:schemeClr val="bg1"/>
                </a:solidFill>
              </a:rPr>
              <a:t> was </a:t>
            </a:r>
            <a:r>
              <a:rPr lang="de-DE" err="1">
                <a:solidFill>
                  <a:schemeClr val="bg1"/>
                </a:solidFill>
              </a:rPr>
              <a:t>biggest</a:t>
            </a:r>
            <a:r>
              <a:rPr lang="de-DE">
                <a:solidFill>
                  <a:schemeClr val="bg1"/>
                </a:solidFill>
              </a:rPr>
              <a:t> </a:t>
            </a:r>
            <a:r>
              <a:rPr lang="de-DE" err="1">
                <a:solidFill>
                  <a:schemeClr val="bg1"/>
                </a:solidFill>
              </a:rPr>
              <a:t>challenge</a:t>
            </a:r>
            <a:r>
              <a:rPr lang="de-DE">
                <a:solidFill>
                  <a:schemeClr val="bg1"/>
                </a:solidFill>
              </a:rPr>
              <a:t> </a:t>
            </a:r>
            <a:r>
              <a:rPr lang="de-DE" err="1">
                <a:solidFill>
                  <a:schemeClr val="bg1"/>
                </a:solidFill>
              </a:rPr>
              <a:t>during</a:t>
            </a:r>
            <a:r>
              <a:rPr lang="de-DE">
                <a:solidFill>
                  <a:schemeClr val="bg1"/>
                </a:solidFill>
              </a:rPr>
              <a:t> </a:t>
            </a:r>
            <a:r>
              <a:rPr lang="de-DE" err="1">
                <a:solidFill>
                  <a:schemeClr val="bg1"/>
                </a:solidFill>
              </a:rPr>
              <a:t>the</a:t>
            </a:r>
            <a:r>
              <a:rPr lang="de-DE">
                <a:solidFill>
                  <a:schemeClr val="bg1"/>
                </a:solidFill>
              </a:rPr>
              <a:t> </a:t>
            </a:r>
            <a:r>
              <a:rPr lang="de-DE" err="1">
                <a:solidFill>
                  <a:schemeClr val="bg1"/>
                </a:solidFill>
              </a:rPr>
              <a:t>project</a:t>
            </a:r>
            <a:endParaRPr lang="de-DE">
              <a:solidFill>
                <a:schemeClr val="bg1"/>
              </a:solidFill>
            </a:endParaRPr>
          </a:p>
        </p:txBody>
      </p:sp>
    </p:spTree>
    <p:extLst>
      <p:ext uri="{BB962C8B-B14F-4D97-AF65-F5344CB8AC3E}">
        <p14:creationId xmlns:p14="http://schemas.microsoft.com/office/powerpoint/2010/main" val="19963778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C78979-DBDA-4747-AA6D-15D9727DC225}"/>
              </a:ext>
            </a:extLst>
          </p:cNvPr>
          <p:cNvSpPr txBox="1">
            <a:spLocks/>
          </p:cNvSpPr>
          <p:nvPr/>
        </p:nvSpPr>
        <p:spPr>
          <a:xfrm>
            <a:off x="1008195" y="3429000"/>
            <a:ext cx="6868800" cy="3138423"/>
          </a:xfrm>
          <a:prstGeom prst="rect">
            <a:avLst/>
          </a:prstGeom>
        </p:spPr>
        <p:txBody>
          <a:bodyPr lIns="91440" tIns="45720" rIns="91440" bIns="45720" anchor="t"/>
          <a:lstStyle>
            <a:lvl1pPr algn="l" defTabSz="914400" rtl="0" eaLnBrk="1" latinLnBrk="0" hangingPunct="1">
              <a:lnSpc>
                <a:spcPct val="90000"/>
              </a:lnSpc>
              <a:spcBef>
                <a:spcPct val="0"/>
              </a:spcBef>
              <a:buNone/>
              <a:defRPr sz="2400" kern="1200">
                <a:solidFill>
                  <a:srgbClr val="009682"/>
                </a:solidFill>
                <a:latin typeface="+mj-lt"/>
                <a:ea typeface="+mj-ea"/>
                <a:cs typeface="+mj-cs"/>
                <a:sym typeface="Trebuchet MS" panose="020B0603020202020204" pitchFamily="34" charset="0"/>
              </a:defRPr>
            </a:lvl1pPr>
          </a:lstStyle>
          <a:p>
            <a:endParaRPr lang="en-GB" sz="3600">
              <a:solidFill>
                <a:schemeClr val="bg1"/>
              </a:solidFill>
            </a:endParaRPr>
          </a:p>
          <a:p>
            <a:endParaRPr lang="en-GB" sz="3600">
              <a:solidFill>
                <a:schemeClr val="bg1"/>
              </a:solidFill>
            </a:endParaRPr>
          </a:p>
          <a:p>
            <a:r>
              <a:rPr lang="en-GB" sz="3600">
                <a:solidFill>
                  <a:schemeClr val="bg1"/>
                </a:solidFill>
              </a:rPr>
              <a:t>Thank you </a:t>
            </a:r>
          </a:p>
          <a:p>
            <a:r>
              <a:rPr lang="en-GB" sz="3600">
                <a:solidFill>
                  <a:schemeClr val="bg1"/>
                </a:solidFill>
              </a:rPr>
              <a:t>for your attention!</a:t>
            </a:r>
          </a:p>
        </p:txBody>
      </p:sp>
      <p:cxnSp>
        <p:nvCxnSpPr>
          <p:cNvPr id="8" name="Straight Connector 7">
            <a:extLst>
              <a:ext uri="{FF2B5EF4-FFF2-40B4-BE49-F238E27FC236}">
                <a16:creationId xmlns:a16="http://schemas.microsoft.com/office/drawing/2014/main" id="{8AB419A1-FACF-46AC-9389-8D59E4C90F70}"/>
              </a:ext>
            </a:extLst>
          </p:cNvPr>
          <p:cNvCxnSpPr>
            <a:cxnSpLocks/>
          </p:cNvCxnSpPr>
          <p:nvPr/>
        </p:nvCxnSpPr>
        <p:spPr>
          <a:xfrm flipV="1">
            <a:off x="1055817" y="4144424"/>
            <a:ext cx="5625052" cy="7698"/>
          </a:xfrm>
          <a:prstGeom prst="line">
            <a:avLst/>
          </a:prstGeom>
          <a:ln w="38100" cap="rnd">
            <a:solidFill>
              <a:srgbClr val="FFFFFF">
                <a:alpha val="34118"/>
              </a:srgbClr>
            </a:solidFill>
            <a:prstDash val="solid"/>
            <a:round/>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967BC5FD-A888-4DED-9E9F-A8191A3179FA}"/>
              </a:ext>
            </a:extLst>
          </p:cNvPr>
          <p:cNvPicPr>
            <a:picLocks noChangeAspect="1"/>
          </p:cNvPicPr>
          <p:nvPr/>
        </p:nvPicPr>
        <p:blipFill>
          <a:blip r:embed="rId2"/>
          <a:stretch>
            <a:fillRect/>
          </a:stretch>
        </p:blipFill>
        <p:spPr>
          <a:xfrm>
            <a:off x="929324" y="1286779"/>
            <a:ext cx="7285351" cy="2420322"/>
          </a:xfrm>
          <a:prstGeom prst="rect">
            <a:avLst/>
          </a:prstGeom>
        </p:spPr>
      </p:pic>
    </p:spTree>
    <p:extLst>
      <p:ext uri="{BB962C8B-B14F-4D97-AF65-F5344CB8AC3E}">
        <p14:creationId xmlns:p14="http://schemas.microsoft.com/office/powerpoint/2010/main" val="34404378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a:extLst>
              <a:ext uri="{FF2B5EF4-FFF2-40B4-BE49-F238E27FC236}">
                <a16:creationId xmlns:a16="http://schemas.microsoft.com/office/drawing/2014/main" id="{89CA8FE6-1B18-412E-90D0-606198CE47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8990" y="1170540"/>
            <a:ext cx="1366683" cy="1366683"/>
          </a:xfrm>
          <a:prstGeom prst="ellipse">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CC4B1FDA-1B42-4F71-BE65-20FAF9D1F5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55307" y="3919301"/>
            <a:ext cx="1357508" cy="1366682"/>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28" name="Grafik 27" descr="Ein Bild, das Person, Wand, drinnen, Mann enthält.&#10;&#10;Automatisch generierte Beschreibung">
            <a:extLst>
              <a:ext uri="{FF2B5EF4-FFF2-40B4-BE49-F238E27FC236}">
                <a16:creationId xmlns:a16="http://schemas.microsoft.com/office/drawing/2014/main" id="{ED532CB4-B36F-4FDE-AE6C-31BDE622BA3F}"/>
              </a:ext>
            </a:extLst>
          </p:cNvPr>
          <p:cNvPicPr>
            <a:picLocks noChangeAspect="1"/>
          </p:cNvPicPr>
          <p:nvPr/>
        </p:nvPicPr>
        <p:blipFill>
          <a:blip r:embed="rId5"/>
          <a:stretch>
            <a:fillRect/>
          </a:stretch>
        </p:blipFill>
        <p:spPr>
          <a:xfrm>
            <a:off x="6347508" y="3910037"/>
            <a:ext cx="1341514" cy="1366683"/>
          </a:xfrm>
          <a:prstGeom prst="flowChartConnector">
            <a:avLst/>
          </a:prstGeom>
        </p:spPr>
      </p:pic>
      <p:pic>
        <p:nvPicPr>
          <p:cNvPr id="1026" name="Picture 2">
            <a:extLst>
              <a:ext uri="{FF2B5EF4-FFF2-40B4-BE49-F238E27FC236}">
                <a16:creationId xmlns:a16="http://schemas.microsoft.com/office/drawing/2014/main" id="{CA687A63-B132-4E44-97E3-509683DB309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20945" y="1252568"/>
            <a:ext cx="1304925" cy="128587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6940D52-CAF7-46D5-9BE7-77616DCDC369}"/>
              </a:ext>
            </a:extLst>
          </p:cNvPr>
          <p:cNvSpPr>
            <a:spLocks noGrp="1"/>
          </p:cNvSpPr>
          <p:nvPr>
            <p:ph type="title"/>
          </p:nvPr>
        </p:nvSpPr>
        <p:spPr>
          <a:xfrm>
            <a:off x="630000" y="622800"/>
            <a:ext cx="3127881" cy="1495794"/>
          </a:xfrm>
        </p:spPr>
        <p:txBody>
          <a:bodyPr anchor="t"/>
          <a:lstStyle/>
          <a:p>
            <a:r>
              <a:rPr lang="en-US" sz="4800"/>
              <a:t>0</a:t>
            </a:r>
            <a:br>
              <a:rPr lang="en-US" sz="4800"/>
            </a:br>
            <a:r>
              <a:rPr lang="en-US" sz="4800"/>
              <a:t>Team</a:t>
            </a:r>
          </a:p>
        </p:txBody>
      </p:sp>
      <p:sp>
        <p:nvSpPr>
          <p:cNvPr id="4" name="Title 1">
            <a:extLst>
              <a:ext uri="{FF2B5EF4-FFF2-40B4-BE49-F238E27FC236}">
                <a16:creationId xmlns:a16="http://schemas.microsoft.com/office/drawing/2014/main" id="{AE84365F-945A-4B25-BB47-3C21A70520BB}"/>
              </a:ext>
            </a:extLst>
          </p:cNvPr>
          <p:cNvSpPr txBox="1">
            <a:spLocks/>
          </p:cNvSpPr>
          <p:nvPr/>
        </p:nvSpPr>
        <p:spPr>
          <a:xfrm>
            <a:off x="4500979" y="622799"/>
            <a:ext cx="7061021" cy="941795"/>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endParaRPr lang="en-US">
              <a:solidFill>
                <a:srgbClr val="009682"/>
              </a:solidFill>
            </a:endParaRPr>
          </a:p>
        </p:txBody>
      </p:sp>
      <p:sp>
        <p:nvSpPr>
          <p:cNvPr id="27" name="Textfeld 26">
            <a:extLst>
              <a:ext uri="{FF2B5EF4-FFF2-40B4-BE49-F238E27FC236}">
                <a16:creationId xmlns:a16="http://schemas.microsoft.com/office/drawing/2014/main" id="{BFE28822-2483-EC44-90BE-03040373488F}"/>
              </a:ext>
            </a:extLst>
          </p:cNvPr>
          <p:cNvSpPr txBox="1"/>
          <p:nvPr/>
        </p:nvSpPr>
        <p:spPr>
          <a:xfrm>
            <a:off x="1989438" y="22489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3" name="Textfeld 2">
            <a:extLst>
              <a:ext uri="{FF2B5EF4-FFF2-40B4-BE49-F238E27FC236}">
                <a16:creationId xmlns:a16="http://schemas.microsoft.com/office/drawing/2014/main" id="{AEEE470C-8C83-4BD2-8DD2-71542A4797A5}"/>
              </a:ext>
            </a:extLst>
          </p:cNvPr>
          <p:cNvSpPr txBox="1"/>
          <p:nvPr/>
        </p:nvSpPr>
        <p:spPr>
          <a:xfrm>
            <a:off x="7519545" y="2524064"/>
            <a:ext cx="1220966" cy="92333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e-DE">
                <a:solidFill>
                  <a:srgbClr val="575757"/>
                </a:solidFill>
              </a:rPr>
              <a:t>David</a:t>
            </a:r>
            <a:endParaRPr lang="de-DE"/>
          </a:p>
          <a:p>
            <a:pPr algn="ctr"/>
            <a:r>
              <a:rPr lang="de-DE">
                <a:solidFill>
                  <a:srgbClr val="575757"/>
                </a:solidFill>
              </a:rPr>
              <a:t>Diener</a:t>
            </a:r>
          </a:p>
          <a:p>
            <a:pPr algn="ctr"/>
            <a:r>
              <a:rPr lang="de-DE" b="1">
                <a:solidFill>
                  <a:srgbClr val="002060"/>
                </a:solidFill>
                <a:ea typeface="+mn-lt"/>
                <a:cs typeface="+mn-lt"/>
              </a:rPr>
              <a:t>2396965</a:t>
            </a:r>
            <a:endParaRPr lang="de-DE" b="1">
              <a:solidFill>
                <a:srgbClr val="002060"/>
              </a:solidFill>
            </a:endParaRPr>
          </a:p>
        </p:txBody>
      </p:sp>
      <p:sp>
        <p:nvSpPr>
          <p:cNvPr id="7" name="Textfeld 6">
            <a:extLst>
              <a:ext uri="{FF2B5EF4-FFF2-40B4-BE49-F238E27FC236}">
                <a16:creationId xmlns:a16="http://schemas.microsoft.com/office/drawing/2014/main" id="{E9EBB545-42E6-47C5-9F67-CB0B50EA08F9}"/>
              </a:ext>
            </a:extLst>
          </p:cNvPr>
          <p:cNvSpPr txBox="1"/>
          <p:nvPr/>
        </p:nvSpPr>
        <p:spPr>
          <a:xfrm>
            <a:off x="9788525" y="2522835"/>
            <a:ext cx="1614995" cy="92333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e-DE">
                <a:solidFill>
                  <a:srgbClr val="575757"/>
                </a:solidFill>
              </a:rPr>
              <a:t>Alexander</a:t>
            </a:r>
            <a:endParaRPr lang="de-DE">
              <a:solidFill>
                <a:srgbClr val="FFFFFF"/>
              </a:solidFill>
            </a:endParaRPr>
          </a:p>
          <a:p>
            <a:pPr algn="ctr"/>
            <a:r>
              <a:rPr lang="de-DE">
                <a:solidFill>
                  <a:srgbClr val="575757"/>
                </a:solidFill>
              </a:rPr>
              <a:t>Kuhn</a:t>
            </a:r>
          </a:p>
          <a:p>
            <a:pPr algn="ctr"/>
            <a:r>
              <a:rPr lang="de-DE" b="1">
                <a:solidFill>
                  <a:srgbClr val="002060"/>
                </a:solidFill>
                <a:ea typeface="+mn-lt"/>
                <a:cs typeface="+mn-lt"/>
              </a:rPr>
              <a:t>2398041</a:t>
            </a:r>
            <a:endParaRPr lang="de-DE" b="1">
              <a:solidFill>
                <a:srgbClr val="002060"/>
              </a:solidFill>
            </a:endParaRPr>
          </a:p>
        </p:txBody>
      </p:sp>
      <p:sp>
        <p:nvSpPr>
          <p:cNvPr id="8" name="Textfeld 7">
            <a:extLst>
              <a:ext uri="{FF2B5EF4-FFF2-40B4-BE49-F238E27FC236}">
                <a16:creationId xmlns:a16="http://schemas.microsoft.com/office/drawing/2014/main" id="{16FAD4F4-8212-4365-A458-102035134368}"/>
              </a:ext>
            </a:extLst>
          </p:cNvPr>
          <p:cNvSpPr txBox="1"/>
          <p:nvPr/>
        </p:nvSpPr>
        <p:spPr>
          <a:xfrm>
            <a:off x="9090024" y="5279793"/>
            <a:ext cx="1484877" cy="92333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e-DE">
                <a:solidFill>
                  <a:srgbClr val="575757"/>
                </a:solidFill>
              </a:rPr>
              <a:t>Moritz</a:t>
            </a:r>
            <a:endParaRPr lang="de-DE" err="1">
              <a:solidFill>
                <a:srgbClr val="FFFFFF"/>
              </a:solidFill>
            </a:endParaRPr>
          </a:p>
          <a:p>
            <a:pPr algn="ctr"/>
            <a:r>
              <a:rPr lang="de-DE" err="1">
                <a:solidFill>
                  <a:srgbClr val="575757"/>
                </a:solidFill>
              </a:rPr>
              <a:t>Nekolla</a:t>
            </a:r>
            <a:endParaRPr lang="de-DE">
              <a:solidFill>
                <a:srgbClr val="575757"/>
              </a:solidFill>
            </a:endParaRPr>
          </a:p>
          <a:p>
            <a:pPr algn="ctr"/>
            <a:r>
              <a:rPr lang="de-DE" b="1">
                <a:solidFill>
                  <a:srgbClr val="002060"/>
                </a:solidFill>
                <a:ea typeface="+mn-lt"/>
                <a:cs typeface="+mn-lt"/>
              </a:rPr>
              <a:t>2060008</a:t>
            </a:r>
            <a:endParaRPr lang="de-DE" b="1">
              <a:solidFill>
                <a:srgbClr val="002060"/>
              </a:solidFill>
            </a:endParaRPr>
          </a:p>
        </p:txBody>
      </p:sp>
      <p:sp>
        <p:nvSpPr>
          <p:cNvPr id="9" name="Textfeld 8">
            <a:extLst>
              <a:ext uri="{FF2B5EF4-FFF2-40B4-BE49-F238E27FC236}">
                <a16:creationId xmlns:a16="http://schemas.microsoft.com/office/drawing/2014/main" id="{CA4FC997-9462-4E28-B742-2392CFB4E84E}"/>
              </a:ext>
            </a:extLst>
          </p:cNvPr>
          <p:cNvSpPr txBox="1"/>
          <p:nvPr/>
        </p:nvSpPr>
        <p:spPr>
          <a:xfrm>
            <a:off x="4691837" y="2546968"/>
            <a:ext cx="1965708" cy="92333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e-DE">
                <a:solidFill>
                  <a:srgbClr val="575757"/>
                </a:solidFill>
              </a:rPr>
              <a:t>Mehdi </a:t>
            </a:r>
            <a:endParaRPr lang="de-DE">
              <a:solidFill>
                <a:srgbClr val="FFFFFF"/>
              </a:solidFill>
            </a:endParaRPr>
          </a:p>
          <a:p>
            <a:pPr algn="ctr"/>
            <a:r>
              <a:rPr lang="de-DE">
                <a:solidFill>
                  <a:srgbClr val="575757"/>
                </a:solidFill>
              </a:rPr>
              <a:t>Ben Chaabane</a:t>
            </a:r>
          </a:p>
          <a:p>
            <a:pPr algn="ctr"/>
            <a:r>
              <a:rPr lang="de-DE" b="1">
                <a:solidFill>
                  <a:srgbClr val="002060"/>
                </a:solidFill>
                <a:ea typeface="+mn-lt"/>
                <a:cs typeface="+mn-lt"/>
              </a:rPr>
              <a:t>1917733</a:t>
            </a:r>
            <a:endParaRPr lang="de-DE" b="1">
              <a:solidFill>
                <a:srgbClr val="002060"/>
              </a:solidFill>
            </a:endParaRPr>
          </a:p>
        </p:txBody>
      </p:sp>
      <p:sp>
        <p:nvSpPr>
          <p:cNvPr id="10" name="Textfeld 9">
            <a:extLst>
              <a:ext uri="{FF2B5EF4-FFF2-40B4-BE49-F238E27FC236}">
                <a16:creationId xmlns:a16="http://schemas.microsoft.com/office/drawing/2014/main" id="{03D1227C-ADBD-40C8-ABF0-0ECC7616069B}"/>
              </a:ext>
            </a:extLst>
          </p:cNvPr>
          <p:cNvSpPr txBox="1"/>
          <p:nvPr/>
        </p:nvSpPr>
        <p:spPr>
          <a:xfrm>
            <a:off x="5978524" y="5279794"/>
            <a:ext cx="2071389" cy="92333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de-DE">
                <a:solidFill>
                  <a:srgbClr val="575757"/>
                </a:solidFill>
              </a:rPr>
              <a:t>Johannes</a:t>
            </a:r>
            <a:endParaRPr lang="de-DE">
              <a:solidFill>
                <a:srgbClr val="FFFFFF"/>
              </a:solidFill>
            </a:endParaRPr>
          </a:p>
          <a:p>
            <a:pPr algn="ctr"/>
            <a:r>
              <a:rPr lang="de-DE">
                <a:solidFill>
                  <a:srgbClr val="575757"/>
                </a:solidFill>
              </a:rPr>
              <a:t>Loy</a:t>
            </a:r>
            <a:endParaRPr lang="de-DE">
              <a:solidFill>
                <a:srgbClr val="FFFFFF"/>
              </a:solidFill>
            </a:endParaRPr>
          </a:p>
          <a:p>
            <a:pPr algn="ctr"/>
            <a:r>
              <a:rPr lang="de-DE" b="1">
                <a:solidFill>
                  <a:srgbClr val="002060"/>
                </a:solidFill>
                <a:ea typeface="+mn-lt"/>
                <a:cs typeface="+mn-lt"/>
              </a:rPr>
              <a:t>2107448</a:t>
            </a:r>
          </a:p>
        </p:txBody>
      </p:sp>
      <p:sp>
        <p:nvSpPr>
          <p:cNvPr id="6" name="Oval 20">
            <a:extLst>
              <a:ext uri="{FF2B5EF4-FFF2-40B4-BE49-F238E27FC236}">
                <a16:creationId xmlns:a16="http://schemas.microsoft.com/office/drawing/2014/main" id="{F3215B7A-0EF3-44C8-9DF0-D5F1280D54B7}"/>
              </a:ext>
            </a:extLst>
          </p:cNvPr>
          <p:cNvSpPr/>
          <p:nvPr/>
        </p:nvSpPr>
        <p:spPr>
          <a:xfrm>
            <a:off x="9155307" y="3925447"/>
            <a:ext cx="1348200" cy="1348200"/>
          </a:xfrm>
          <a:prstGeom prst="ellipse">
            <a:avLst/>
          </a:prstGeom>
          <a:noFill/>
          <a:ln w="76200" cap="rnd">
            <a:solidFill>
              <a:srgbClr val="00968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a:solidFill>
                <a:schemeClr val="tx1"/>
              </a:solidFill>
            </a:endParaRPr>
          </a:p>
        </p:txBody>
      </p:sp>
      <p:sp>
        <p:nvSpPr>
          <p:cNvPr id="12" name="Oval 44">
            <a:extLst>
              <a:ext uri="{FF2B5EF4-FFF2-40B4-BE49-F238E27FC236}">
                <a16:creationId xmlns:a16="http://schemas.microsoft.com/office/drawing/2014/main" id="{058CBE1B-ADC9-4DAA-85B7-FC96B6055C66}"/>
              </a:ext>
            </a:extLst>
          </p:cNvPr>
          <p:cNvSpPr/>
          <p:nvPr/>
        </p:nvSpPr>
        <p:spPr>
          <a:xfrm>
            <a:off x="4999308" y="1221406"/>
            <a:ext cx="1348200" cy="1348200"/>
          </a:xfrm>
          <a:prstGeom prst="ellipse">
            <a:avLst/>
          </a:prstGeom>
          <a:noFill/>
          <a:ln w="76200" cap="rnd">
            <a:solidFill>
              <a:srgbClr val="00968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a:solidFill>
                <a:schemeClr val="tx1"/>
              </a:solidFill>
            </a:endParaRPr>
          </a:p>
        </p:txBody>
      </p:sp>
      <p:sp>
        <p:nvSpPr>
          <p:cNvPr id="14" name="Oval 40">
            <a:extLst>
              <a:ext uri="{FF2B5EF4-FFF2-40B4-BE49-F238E27FC236}">
                <a16:creationId xmlns:a16="http://schemas.microsoft.com/office/drawing/2014/main" id="{499F8B50-69F3-4440-A5C9-1EB2A41B7D7B}"/>
              </a:ext>
            </a:extLst>
          </p:cNvPr>
          <p:cNvSpPr/>
          <p:nvPr/>
        </p:nvSpPr>
        <p:spPr>
          <a:xfrm>
            <a:off x="7461555" y="1219816"/>
            <a:ext cx="1348200" cy="1348200"/>
          </a:xfrm>
          <a:prstGeom prst="ellipse">
            <a:avLst/>
          </a:prstGeom>
          <a:noFill/>
          <a:ln w="76200" cap="rnd">
            <a:solidFill>
              <a:srgbClr val="00968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1600" kern="0">
              <a:solidFill>
                <a:srgbClr val="009682"/>
              </a:solidFill>
            </a:endParaRPr>
          </a:p>
        </p:txBody>
      </p:sp>
      <p:sp>
        <p:nvSpPr>
          <p:cNvPr id="16" name="Oval 21">
            <a:extLst>
              <a:ext uri="{FF2B5EF4-FFF2-40B4-BE49-F238E27FC236}">
                <a16:creationId xmlns:a16="http://schemas.microsoft.com/office/drawing/2014/main" id="{4FEC2A4D-0F07-42F2-9B1F-A7CE9655C22C}"/>
              </a:ext>
            </a:extLst>
          </p:cNvPr>
          <p:cNvSpPr/>
          <p:nvPr/>
        </p:nvSpPr>
        <p:spPr>
          <a:xfrm>
            <a:off x="6340822" y="3925447"/>
            <a:ext cx="1348200" cy="1348200"/>
          </a:xfrm>
          <a:prstGeom prst="ellipse">
            <a:avLst/>
          </a:prstGeom>
          <a:noFill/>
          <a:ln w="76200" cap="rnd">
            <a:solidFill>
              <a:srgbClr val="00968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a:solidFill>
                <a:schemeClr val="tx1"/>
              </a:solidFill>
            </a:endParaRPr>
          </a:p>
        </p:txBody>
      </p:sp>
      <p:sp>
        <p:nvSpPr>
          <p:cNvPr id="18" name="Oval 18">
            <a:extLst>
              <a:ext uri="{FF2B5EF4-FFF2-40B4-BE49-F238E27FC236}">
                <a16:creationId xmlns:a16="http://schemas.microsoft.com/office/drawing/2014/main" id="{7A256669-3A26-4A56-AB90-403CAC2B7913}"/>
              </a:ext>
            </a:extLst>
          </p:cNvPr>
          <p:cNvSpPr/>
          <p:nvPr/>
        </p:nvSpPr>
        <p:spPr>
          <a:xfrm>
            <a:off x="9921237" y="1216114"/>
            <a:ext cx="1348200" cy="1348200"/>
          </a:xfrm>
          <a:prstGeom prst="ellipse">
            <a:avLst/>
          </a:prstGeom>
          <a:solidFill>
            <a:srgbClr val="FFFFFF"/>
          </a:solidFill>
          <a:ln w="76200" cap="rnd">
            <a:solidFill>
              <a:srgbClr val="00968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a:solidFill>
                <a:schemeClr val="tx1"/>
              </a:solidFill>
            </a:endParaRPr>
          </a:p>
        </p:txBody>
      </p:sp>
      <p:pic>
        <p:nvPicPr>
          <p:cNvPr id="24" name="Grafik 20">
            <a:extLst>
              <a:ext uri="{FF2B5EF4-FFF2-40B4-BE49-F238E27FC236}">
                <a16:creationId xmlns:a16="http://schemas.microsoft.com/office/drawing/2014/main" id="{DD88ABC9-D3E7-496E-8F65-8F3D828C1D81}"/>
              </a:ext>
            </a:extLst>
          </p:cNvPr>
          <p:cNvPicPr>
            <a:picLocks noChangeAspect="1"/>
          </p:cNvPicPr>
          <p:nvPr/>
        </p:nvPicPr>
        <p:blipFill>
          <a:blip r:embed="rId7"/>
          <a:stretch>
            <a:fillRect/>
          </a:stretch>
        </p:blipFill>
        <p:spPr>
          <a:xfrm>
            <a:off x="10365315" y="1660212"/>
            <a:ext cx="462804" cy="457201"/>
          </a:xfrm>
          <a:prstGeom prst="rect">
            <a:avLst/>
          </a:prstGeom>
        </p:spPr>
      </p:pic>
      <p:pic>
        <p:nvPicPr>
          <p:cNvPr id="11" name="Grafik 12" descr="Ein Bild, das Person, draußen, lächelnd, älter enthält.&#10;&#10;Beschreibung automatisch generiert.">
            <a:extLst>
              <a:ext uri="{FF2B5EF4-FFF2-40B4-BE49-F238E27FC236}">
                <a16:creationId xmlns:a16="http://schemas.microsoft.com/office/drawing/2014/main" id="{8FFB263A-2240-442A-BA16-3A8A2A0CB33C}"/>
              </a:ext>
            </a:extLst>
          </p:cNvPr>
          <p:cNvPicPr>
            <a:picLocks noChangeAspect="1"/>
          </p:cNvPicPr>
          <p:nvPr/>
        </p:nvPicPr>
        <p:blipFill>
          <a:blip r:embed="rId8"/>
          <a:stretch>
            <a:fillRect/>
          </a:stretch>
        </p:blipFill>
        <p:spPr>
          <a:xfrm>
            <a:off x="9905998" y="1207272"/>
            <a:ext cx="1363136" cy="1370054"/>
          </a:xfrm>
          <a:prstGeom prst="ellipse">
            <a:avLst/>
          </a:prstGeom>
          <a:ln w="63500" cap="rnd">
            <a:solidFill>
              <a:srgbClr val="0C8C7A"/>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0362640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19B9B-9193-4140-874C-B30196EB1CEF}"/>
              </a:ext>
            </a:extLst>
          </p:cNvPr>
          <p:cNvSpPr>
            <a:spLocks noGrp="1"/>
          </p:cNvSpPr>
          <p:nvPr>
            <p:ph type="title"/>
          </p:nvPr>
        </p:nvSpPr>
        <p:spPr>
          <a:xfrm>
            <a:off x="630000" y="622800"/>
            <a:ext cx="10933200" cy="470898"/>
          </a:xfrm>
        </p:spPr>
        <p:txBody>
          <a:bodyPr/>
          <a:lstStyle/>
          <a:p>
            <a:r>
              <a:rPr lang="en-GB"/>
              <a:t>Working Approach.</a:t>
            </a:r>
            <a:endParaRPr lang="LID4096"/>
          </a:p>
        </p:txBody>
      </p:sp>
      <p:sp>
        <p:nvSpPr>
          <p:cNvPr id="4" name="Textfeld 3">
            <a:extLst>
              <a:ext uri="{FF2B5EF4-FFF2-40B4-BE49-F238E27FC236}">
                <a16:creationId xmlns:a16="http://schemas.microsoft.com/office/drawing/2014/main" id="{2DA15B62-B9F5-4EA6-8C98-236BAA565B06}"/>
              </a:ext>
            </a:extLst>
          </p:cNvPr>
          <p:cNvSpPr txBox="1"/>
          <p:nvPr/>
        </p:nvSpPr>
        <p:spPr>
          <a:xfrm>
            <a:off x="1297658" y="1561058"/>
            <a:ext cx="10644142" cy="415498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de-DE" sz="2400">
                <a:solidFill>
                  <a:srgbClr val="575757"/>
                </a:solidFill>
              </a:rPr>
              <a:t>Early switch </a:t>
            </a:r>
            <a:r>
              <a:rPr lang="de-DE" sz="2400" err="1">
                <a:solidFill>
                  <a:srgbClr val="575757"/>
                </a:solidFill>
              </a:rPr>
              <a:t>from</a:t>
            </a:r>
            <a:r>
              <a:rPr lang="de-DE" sz="2400">
                <a:solidFill>
                  <a:srgbClr val="575757"/>
                </a:solidFill>
              </a:rPr>
              <a:t> </a:t>
            </a:r>
            <a:r>
              <a:rPr lang="de-DE" sz="2400" err="1">
                <a:solidFill>
                  <a:srgbClr val="575757"/>
                </a:solidFill>
              </a:rPr>
              <a:t>Waterfall</a:t>
            </a:r>
            <a:r>
              <a:rPr lang="de-DE" sz="2400">
                <a:solidFill>
                  <a:srgbClr val="575757"/>
                </a:solidFill>
              </a:rPr>
              <a:t>-Modell </a:t>
            </a:r>
            <a:r>
              <a:rPr lang="de-DE" sz="2400" err="1">
                <a:solidFill>
                  <a:srgbClr val="575757"/>
                </a:solidFill>
              </a:rPr>
              <a:t>to</a:t>
            </a:r>
            <a:r>
              <a:rPr lang="de-DE" sz="2400">
                <a:solidFill>
                  <a:srgbClr val="575757"/>
                </a:solidFill>
              </a:rPr>
              <a:t> agile </a:t>
            </a:r>
            <a:r>
              <a:rPr lang="de-DE" sz="2400" err="1">
                <a:solidFill>
                  <a:srgbClr val="575757"/>
                </a:solidFill>
              </a:rPr>
              <a:t>approach</a:t>
            </a:r>
            <a:endParaRPr lang="de-DE" sz="2400">
              <a:solidFill>
                <a:srgbClr val="575757"/>
              </a:solidFill>
            </a:endParaRPr>
          </a:p>
          <a:p>
            <a:endParaRPr lang="de-DE" sz="2400">
              <a:solidFill>
                <a:srgbClr val="575757"/>
              </a:solidFill>
            </a:endParaRPr>
          </a:p>
          <a:p>
            <a:endParaRPr lang="de-DE" sz="2400">
              <a:solidFill>
                <a:srgbClr val="575757"/>
              </a:solidFill>
            </a:endParaRPr>
          </a:p>
          <a:p>
            <a:r>
              <a:rPr lang="de-DE" sz="2400">
                <a:solidFill>
                  <a:srgbClr val="575757"/>
                </a:solidFill>
              </a:rPr>
              <a:t>Weekly Meetings</a:t>
            </a:r>
          </a:p>
          <a:p>
            <a:pPr marL="800100" lvl="1" indent="-342900">
              <a:buFont typeface="Courier New"/>
              <a:buChar char="o"/>
            </a:pPr>
            <a:r>
              <a:rPr lang="de-DE" sz="2400" err="1">
                <a:solidFill>
                  <a:srgbClr val="575757"/>
                </a:solidFill>
              </a:rPr>
              <a:t>Presentation</a:t>
            </a:r>
            <a:r>
              <a:rPr lang="de-DE" sz="2400">
                <a:solidFill>
                  <a:srgbClr val="575757"/>
                </a:solidFill>
              </a:rPr>
              <a:t> </a:t>
            </a:r>
            <a:r>
              <a:rPr lang="de-DE" sz="2400" err="1">
                <a:solidFill>
                  <a:srgbClr val="575757"/>
                </a:solidFill>
              </a:rPr>
              <a:t>of</a:t>
            </a:r>
            <a:r>
              <a:rPr lang="de-DE" sz="2400">
                <a:solidFill>
                  <a:srgbClr val="575757"/>
                </a:solidFill>
              </a:rPr>
              <a:t> individual </a:t>
            </a:r>
            <a:r>
              <a:rPr lang="de-DE" sz="2400" err="1">
                <a:solidFill>
                  <a:srgbClr val="575757"/>
                </a:solidFill>
              </a:rPr>
              <a:t>results</a:t>
            </a:r>
            <a:r>
              <a:rPr lang="de-DE" sz="2400">
                <a:solidFill>
                  <a:srgbClr val="575757"/>
                </a:solidFill>
              </a:rPr>
              <a:t> and </a:t>
            </a:r>
            <a:r>
              <a:rPr lang="de-DE" sz="2400" err="1">
                <a:solidFill>
                  <a:srgbClr val="575757"/>
                </a:solidFill>
              </a:rPr>
              <a:t>ideas</a:t>
            </a:r>
            <a:endParaRPr lang="de-DE" sz="2400">
              <a:solidFill>
                <a:srgbClr val="575757"/>
              </a:solidFill>
            </a:endParaRPr>
          </a:p>
          <a:p>
            <a:pPr marL="800100" lvl="1" indent="-342900">
              <a:buFont typeface="Courier New"/>
              <a:buChar char="o"/>
            </a:pPr>
            <a:r>
              <a:rPr lang="de-DE" sz="2400">
                <a:solidFill>
                  <a:srgbClr val="575757"/>
                </a:solidFill>
              </a:rPr>
              <a:t>Constant </a:t>
            </a:r>
            <a:r>
              <a:rPr lang="de-DE" sz="2400" err="1">
                <a:solidFill>
                  <a:srgbClr val="575757"/>
                </a:solidFill>
              </a:rPr>
              <a:t>comparison</a:t>
            </a:r>
            <a:r>
              <a:rPr lang="de-DE" sz="2400">
                <a:solidFill>
                  <a:srgbClr val="575757"/>
                </a:solidFill>
              </a:rPr>
              <a:t> plan </a:t>
            </a:r>
            <a:r>
              <a:rPr lang="de-DE" sz="2400" err="1">
                <a:solidFill>
                  <a:srgbClr val="575757"/>
                </a:solidFill>
              </a:rPr>
              <a:t>vs</a:t>
            </a:r>
            <a:r>
              <a:rPr lang="de-DE" sz="2400">
                <a:solidFill>
                  <a:srgbClr val="575757"/>
                </a:solidFill>
              </a:rPr>
              <a:t> </a:t>
            </a:r>
            <a:r>
              <a:rPr lang="de-DE" sz="2400" err="1">
                <a:solidFill>
                  <a:srgbClr val="575757"/>
                </a:solidFill>
              </a:rPr>
              <a:t>actual</a:t>
            </a:r>
            <a:r>
              <a:rPr lang="de-DE" sz="2400">
                <a:solidFill>
                  <a:srgbClr val="575757"/>
                </a:solidFill>
              </a:rPr>
              <a:t> </a:t>
            </a:r>
            <a:r>
              <a:rPr lang="de-DE" sz="2400" err="1">
                <a:solidFill>
                  <a:srgbClr val="575757"/>
                </a:solidFill>
              </a:rPr>
              <a:t>status</a:t>
            </a:r>
            <a:endParaRPr lang="de-DE" sz="2400">
              <a:solidFill>
                <a:srgbClr val="575757"/>
              </a:solidFill>
            </a:endParaRPr>
          </a:p>
          <a:p>
            <a:pPr marL="800100" lvl="1" indent="-342900">
              <a:buFont typeface="Courier New"/>
              <a:buChar char="o"/>
            </a:pPr>
            <a:r>
              <a:rPr lang="de-DE" sz="2400">
                <a:solidFill>
                  <a:srgbClr val="575757"/>
                </a:solidFill>
              </a:rPr>
              <a:t>Track </a:t>
            </a:r>
            <a:r>
              <a:rPr lang="de-DE" sz="2400" err="1">
                <a:solidFill>
                  <a:srgbClr val="575757"/>
                </a:solidFill>
              </a:rPr>
              <a:t>progress</a:t>
            </a:r>
            <a:r>
              <a:rPr lang="de-DE" sz="2400">
                <a:solidFill>
                  <a:srgbClr val="575757"/>
                </a:solidFill>
              </a:rPr>
              <a:t> and </a:t>
            </a:r>
            <a:r>
              <a:rPr lang="de-DE" sz="2400" err="1">
                <a:solidFill>
                  <a:srgbClr val="575757"/>
                </a:solidFill>
              </a:rPr>
              <a:t>imporvement</a:t>
            </a:r>
            <a:endParaRPr lang="de-DE" sz="2400">
              <a:solidFill>
                <a:srgbClr val="575757"/>
              </a:solidFill>
            </a:endParaRPr>
          </a:p>
          <a:p>
            <a:pPr marL="800100" lvl="1" indent="-342900">
              <a:buFont typeface="Courier New"/>
              <a:buChar char="o"/>
            </a:pPr>
            <a:r>
              <a:rPr lang="de-DE" sz="2400" err="1">
                <a:solidFill>
                  <a:srgbClr val="575757"/>
                </a:solidFill>
              </a:rPr>
              <a:t>Determine</a:t>
            </a:r>
            <a:r>
              <a:rPr lang="de-DE" sz="2400">
                <a:solidFill>
                  <a:srgbClr val="575757"/>
                </a:solidFill>
              </a:rPr>
              <a:t> </a:t>
            </a:r>
            <a:r>
              <a:rPr lang="de-DE" sz="2400" err="1">
                <a:solidFill>
                  <a:srgbClr val="575757"/>
                </a:solidFill>
              </a:rPr>
              <a:t>next</a:t>
            </a:r>
            <a:r>
              <a:rPr lang="de-DE" sz="2400">
                <a:solidFill>
                  <a:srgbClr val="575757"/>
                </a:solidFill>
              </a:rPr>
              <a:t> </a:t>
            </a:r>
            <a:r>
              <a:rPr lang="de-DE" sz="2400" err="1">
                <a:solidFill>
                  <a:srgbClr val="575757"/>
                </a:solidFill>
              </a:rPr>
              <a:t>steps</a:t>
            </a:r>
            <a:endParaRPr lang="de-DE" sz="2400">
              <a:solidFill>
                <a:srgbClr val="575757"/>
              </a:solidFill>
            </a:endParaRPr>
          </a:p>
          <a:p>
            <a:pPr lvl="1"/>
            <a:endParaRPr lang="de-DE" sz="2400">
              <a:solidFill>
                <a:srgbClr val="575757"/>
              </a:solidFill>
            </a:endParaRPr>
          </a:p>
          <a:p>
            <a:pPr marL="800100" lvl="1" indent="-342900">
              <a:buFont typeface="Courier New"/>
              <a:buChar char="o"/>
            </a:pPr>
            <a:endParaRPr lang="de-DE" sz="2400">
              <a:solidFill>
                <a:srgbClr val="575757"/>
              </a:solidFill>
            </a:endParaRPr>
          </a:p>
          <a:p>
            <a:pPr lvl="1"/>
            <a:endParaRPr lang="de-DE" sz="2400" err="1">
              <a:solidFill>
                <a:srgbClr val="575757"/>
              </a:solidFill>
            </a:endParaRPr>
          </a:p>
        </p:txBody>
      </p:sp>
      <p:pic>
        <p:nvPicPr>
          <p:cNvPr id="6" name="Grafik 5" descr="Tageskalender mit einfarbiger Füllung">
            <a:extLst>
              <a:ext uri="{FF2B5EF4-FFF2-40B4-BE49-F238E27FC236}">
                <a16:creationId xmlns:a16="http://schemas.microsoft.com/office/drawing/2014/main" id="{7880ECF3-DE58-4B1E-9507-C2786C3B75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8200" y="2601242"/>
            <a:ext cx="561058" cy="561058"/>
          </a:xfrm>
          <a:prstGeom prst="rect">
            <a:avLst/>
          </a:prstGeom>
        </p:spPr>
      </p:pic>
      <p:pic>
        <p:nvPicPr>
          <p:cNvPr id="8" name="Grafik 7" descr="Kreise mit Pfeilen mit einfarbiger Füllung">
            <a:extLst>
              <a:ext uri="{FF2B5EF4-FFF2-40B4-BE49-F238E27FC236}">
                <a16:creationId xmlns:a16="http://schemas.microsoft.com/office/drawing/2014/main" id="{C36BAEE4-F7E8-40B9-A2BF-AE0EB667E09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7729" y="1453205"/>
            <a:ext cx="661529" cy="661529"/>
          </a:xfrm>
          <a:prstGeom prst="rect">
            <a:avLst/>
          </a:prstGeom>
        </p:spPr>
      </p:pic>
    </p:spTree>
    <p:extLst>
      <p:ext uri="{BB962C8B-B14F-4D97-AF65-F5344CB8AC3E}">
        <p14:creationId xmlns:p14="http://schemas.microsoft.com/office/powerpoint/2010/main" val="212074359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40D52-CAF7-46D5-9BE7-77616DCDC369}"/>
              </a:ext>
            </a:extLst>
          </p:cNvPr>
          <p:cNvSpPr>
            <a:spLocks noGrp="1"/>
          </p:cNvSpPr>
          <p:nvPr>
            <p:ph type="title"/>
          </p:nvPr>
        </p:nvSpPr>
        <p:spPr>
          <a:xfrm>
            <a:off x="630000" y="622800"/>
            <a:ext cx="3127881" cy="1495794"/>
          </a:xfrm>
        </p:spPr>
        <p:txBody>
          <a:bodyPr anchor="t"/>
          <a:lstStyle/>
          <a:p>
            <a:r>
              <a:rPr lang="en-US" sz="4800"/>
              <a:t>1</a:t>
            </a:r>
            <a:br>
              <a:rPr lang="en-US" sz="4800"/>
            </a:br>
            <a:r>
              <a:rPr lang="en-US" sz="4800"/>
              <a:t>Provided Data</a:t>
            </a:r>
          </a:p>
        </p:txBody>
      </p:sp>
      <p:sp>
        <p:nvSpPr>
          <p:cNvPr id="4" name="Title 1">
            <a:extLst>
              <a:ext uri="{FF2B5EF4-FFF2-40B4-BE49-F238E27FC236}">
                <a16:creationId xmlns:a16="http://schemas.microsoft.com/office/drawing/2014/main" id="{AE84365F-945A-4B25-BB47-3C21A70520BB}"/>
              </a:ext>
            </a:extLst>
          </p:cNvPr>
          <p:cNvSpPr txBox="1">
            <a:spLocks/>
          </p:cNvSpPr>
          <p:nvPr/>
        </p:nvSpPr>
        <p:spPr>
          <a:xfrm>
            <a:off x="4500979" y="622799"/>
            <a:ext cx="7061021" cy="941795"/>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endParaRPr lang="en-US">
              <a:solidFill>
                <a:srgbClr val="009682"/>
              </a:solidFill>
            </a:endParaRPr>
          </a:p>
        </p:txBody>
      </p:sp>
      <p:sp>
        <p:nvSpPr>
          <p:cNvPr id="27" name="Textfeld 26">
            <a:extLst>
              <a:ext uri="{FF2B5EF4-FFF2-40B4-BE49-F238E27FC236}">
                <a16:creationId xmlns:a16="http://schemas.microsoft.com/office/drawing/2014/main" id="{BFE28822-2483-EC44-90BE-03040373488F}"/>
              </a:ext>
            </a:extLst>
          </p:cNvPr>
          <p:cNvSpPr txBox="1"/>
          <p:nvPr/>
        </p:nvSpPr>
        <p:spPr>
          <a:xfrm>
            <a:off x="1989438" y="22489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pic>
        <p:nvPicPr>
          <p:cNvPr id="3" name="Grafik 4" descr="Ein Bild, das Tisch enthält.&#10;&#10;Beschreibung automatisch generiert.">
            <a:extLst>
              <a:ext uri="{FF2B5EF4-FFF2-40B4-BE49-F238E27FC236}">
                <a16:creationId xmlns:a16="http://schemas.microsoft.com/office/drawing/2014/main" id="{5849534C-81ED-45C3-8A7A-A2E053309B96}"/>
              </a:ext>
            </a:extLst>
          </p:cNvPr>
          <p:cNvPicPr>
            <a:picLocks noChangeAspect="1"/>
          </p:cNvPicPr>
          <p:nvPr/>
        </p:nvPicPr>
        <p:blipFill>
          <a:blip r:embed="rId3"/>
          <a:stretch>
            <a:fillRect/>
          </a:stretch>
        </p:blipFill>
        <p:spPr>
          <a:xfrm>
            <a:off x="4071960" y="0"/>
            <a:ext cx="8130582" cy="6151880"/>
          </a:xfrm>
          <a:prstGeom prst="rect">
            <a:avLst/>
          </a:prstGeom>
        </p:spPr>
      </p:pic>
      <p:pic>
        <p:nvPicPr>
          <p:cNvPr id="6" name="Grafik 5">
            <a:extLst>
              <a:ext uri="{FF2B5EF4-FFF2-40B4-BE49-F238E27FC236}">
                <a16:creationId xmlns:a16="http://schemas.microsoft.com/office/drawing/2014/main" id="{B6A65C41-FDBD-4B71-8540-66E3882044C0}"/>
              </a:ext>
            </a:extLst>
          </p:cNvPr>
          <p:cNvPicPr>
            <a:picLocks noChangeAspect="1"/>
          </p:cNvPicPr>
          <p:nvPr/>
        </p:nvPicPr>
        <p:blipFill>
          <a:blip r:embed="rId4"/>
          <a:stretch>
            <a:fillRect/>
          </a:stretch>
        </p:blipFill>
        <p:spPr>
          <a:xfrm>
            <a:off x="4071960" y="4398944"/>
            <a:ext cx="8130582" cy="2459056"/>
          </a:xfrm>
          <a:prstGeom prst="rect">
            <a:avLst/>
          </a:prstGeom>
        </p:spPr>
      </p:pic>
    </p:spTree>
    <p:extLst>
      <p:ext uri="{BB962C8B-B14F-4D97-AF65-F5344CB8AC3E}">
        <p14:creationId xmlns:p14="http://schemas.microsoft.com/office/powerpoint/2010/main" val="186732882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19B9B-9193-4140-874C-B30196EB1CEF}"/>
              </a:ext>
            </a:extLst>
          </p:cNvPr>
          <p:cNvSpPr>
            <a:spLocks noGrp="1"/>
          </p:cNvSpPr>
          <p:nvPr>
            <p:ph type="title"/>
          </p:nvPr>
        </p:nvSpPr>
        <p:spPr>
          <a:xfrm>
            <a:off x="630000" y="622800"/>
            <a:ext cx="10933200" cy="470898"/>
          </a:xfrm>
        </p:spPr>
        <p:txBody>
          <a:bodyPr/>
          <a:lstStyle/>
          <a:p>
            <a:r>
              <a:rPr lang="en-GB"/>
              <a:t>Officially Provided Documents.</a:t>
            </a:r>
            <a:endParaRPr lang="LID4096"/>
          </a:p>
        </p:txBody>
      </p:sp>
      <p:sp>
        <p:nvSpPr>
          <p:cNvPr id="3" name="Textfeld 2">
            <a:extLst>
              <a:ext uri="{FF2B5EF4-FFF2-40B4-BE49-F238E27FC236}">
                <a16:creationId xmlns:a16="http://schemas.microsoft.com/office/drawing/2014/main" id="{51D1FBBC-2402-4F36-A0EF-E47C726D0995}"/>
              </a:ext>
            </a:extLst>
          </p:cNvPr>
          <p:cNvSpPr txBox="1"/>
          <p:nvPr/>
        </p:nvSpPr>
        <p:spPr>
          <a:xfrm>
            <a:off x="1353538" y="1631843"/>
            <a:ext cx="10644142" cy="341632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342900" indent="-342900">
              <a:buFont typeface="Courier New"/>
              <a:buChar char="o"/>
            </a:pPr>
            <a:r>
              <a:rPr lang="de-DE" sz="2400">
                <a:solidFill>
                  <a:srgbClr val="575757"/>
                </a:solidFill>
              </a:rPr>
              <a:t>77 </a:t>
            </a:r>
            <a:r>
              <a:rPr lang="de-DE" sz="2400" err="1">
                <a:solidFill>
                  <a:srgbClr val="575757"/>
                </a:solidFill>
              </a:rPr>
              <a:t>txt</a:t>
            </a:r>
            <a:r>
              <a:rPr lang="de-DE" sz="2400">
                <a:solidFill>
                  <a:srgbClr val="575757"/>
                </a:solidFill>
              </a:rPr>
              <a:t>.-Files</a:t>
            </a:r>
            <a:endParaRPr lang="de-DE"/>
          </a:p>
          <a:p>
            <a:pPr marL="800100" lvl="1" indent="-342900">
              <a:buFont typeface="Courier New"/>
              <a:buChar char="o"/>
            </a:pPr>
            <a:r>
              <a:rPr lang="de-DE" sz="2400" err="1">
                <a:solidFill>
                  <a:srgbClr val="575757"/>
                </a:solidFill>
              </a:rPr>
              <a:t>One</a:t>
            </a:r>
            <a:r>
              <a:rPr lang="de-DE" sz="2400">
                <a:solidFill>
                  <a:srgbClr val="575757"/>
                </a:solidFill>
              </a:rPr>
              <a:t> </a:t>
            </a:r>
            <a:r>
              <a:rPr lang="de-DE" sz="2400" err="1">
                <a:solidFill>
                  <a:srgbClr val="575757"/>
                </a:solidFill>
              </a:rPr>
              <a:t>file</a:t>
            </a:r>
            <a:r>
              <a:rPr lang="de-DE" sz="2400">
                <a:solidFill>
                  <a:srgbClr val="575757"/>
                </a:solidFill>
              </a:rPr>
              <a:t> per </a:t>
            </a:r>
            <a:r>
              <a:rPr lang="de-DE" sz="2400" err="1">
                <a:solidFill>
                  <a:srgbClr val="575757"/>
                </a:solidFill>
              </a:rPr>
              <a:t>container</a:t>
            </a:r>
            <a:endParaRPr lang="de-DE" sz="2400">
              <a:solidFill>
                <a:srgbClr val="575757"/>
              </a:solidFill>
            </a:endParaRPr>
          </a:p>
          <a:p>
            <a:pPr marL="800100" lvl="1" indent="-342900">
              <a:buFont typeface="Courier New"/>
              <a:buChar char="o"/>
            </a:pPr>
            <a:r>
              <a:rPr lang="de-DE" sz="2400" err="1">
                <a:solidFill>
                  <a:srgbClr val="575757"/>
                </a:solidFill>
              </a:rPr>
              <a:t>Manifold</a:t>
            </a:r>
            <a:r>
              <a:rPr lang="de-DE" sz="2400">
                <a:solidFill>
                  <a:srgbClr val="575757"/>
                </a:solidFill>
              </a:rPr>
              <a:t> </a:t>
            </a:r>
            <a:r>
              <a:rPr lang="de-DE" sz="2400" err="1">
                <a:solidFill>
                  <a:srgbClr val="575757"/>
                </a:solidFill>
              </a:rPr>
              <a:t>measurement</a:t>
            </a:r>
            <a:r>
              <a:rPr lang="de-DE" sz="2400">
                <a:solidFill>
                  <a:srgbClr val="575757"/>
                </a:solidFill>
              </a:rPr>
              <a:t> </a:t>
            </a:r>
            <a:r>
              <a:rPr lang="de-DE" sz="2400" err="1">
                <a:solidFill>
                  <a:srgbClr val="575757"/>
                </a:solidFill>
              </a:rPr>
              <a:t>data</a:t>
            </a:r>
            <a:r>
              <a:rPr lang="de-DE" sz="2400">
                <a:solidFill>
                  <a:srgbClr val="575757"/>
                </a:solidFill>
              </a:rPr>
              <a:t> and </a:t>
            </a:r>
            <a:r>
              <a:rPr lang="de-DE" sz="2400" err="1">
                <a:solidFill>
                  <a:srgbClr val="575757"/>
                </a:solidFill>
              </a:rPr>
              <a:t>other</a:t>
            </a:r>
            <a:r>
              <a:rPr lang="de-DE" sz="2400">
                <a:solidFill>
                  <a:srgbClr val="575757"/>
                </a:solidFill>
              </a:rPr>
              <a:t> </a:t>
            </a:r>
            <a:r>
              <a:rPr lang="de-DE" sz="2400" err="1">
                <a:solidFill>
                  <a:srgbClr val="575757"/>
                </a:solidFill>
              </a:rPr>
              <a:t>information</a:t>
            </a:r>
            <a:r>
              <a:rPr lang="de-DE" sz="2400">
                <a:solidFill>
                  <a:srgbClr val="575757"/>
                </a:solidFill>
              </a:rPr>
              <a:t> (</a:t>
            </a:r>
            <a:r>
              <a:rPr lang="de-DE" sz="2400" err="1">
                <a:solidFill>
                  <a:srgbClr val="575757"/>
                </a:solidFill>
              </a:rPr>
              <a:t>see</a:t>
            </a:r>
            <a:r>
              <a:rPr lang="de-DE" sz="2400">
                <a:solidFill>
                  <a:srgbClr val="575757"/>
                </a:solidFill>
              </a:rPr>
              <a:t> </a:t>
            </a:r>
            <a:r>
              <a:rPr lang="de-DE" sz="2400" err="1">
                <a:solidFill>
                  <a:srgbClr val="575757"/>
                </a:solidFill>
              </a:rPr>
              <a:t>next</a:t>
            </a:r>
            <a:r>
              <a:rPr lang="de-DE" sz="2400">
                <a:solidFill>
                  <a:srgbClr val="575757"/>
                </a:solidFill>
              </a:rPr>
              <a:t> </a:t>
            </a:r>
            <a:r>
              <a:rPr lang="de-DE" sz="2400" err="1">
                <a:solidFill>
                  <a:srgbClr val="575757"/>
                </a:solidFill>
              </a:rPr>
              <a:t>slides</a:t>
            </a:r>
            <a:r>
              <a:rPr lang="de-DE" sz="2400">
                <a:solidFill>
                  <a:srgbClr val="575757"/>
                </a:solidFill>
              </a:rPr>
              <a:t>)</a:t>
            </a:r>
          </a:p>
          <a:p>
            <a:pPr marL="800100" lvl="1" indent="-342900">
              <a:buFont typeface="Courier New"/>
              <a:buChar char="o"/>
            </a:pPr>
            <a:r>
              <a:rPr lang="de-DE" sz="2400">
                <a:solidFill>
                  <a:srgbClr val="575757"/>
                </a:solidFill>
              </a:rPr>
              <a:t>Cover </a:t>
            </a:r>
            <a:r>
              <a:rPr lang="de-DE" sz="2400" err="1">
                <a:solidFill>
                  <a:srgbClr val="575757"/>
                </a:solidFill>
              </a:rPr>
              <a:t>period</a:t>
            </a:r>
            <a:r>
              <a:rPr lang="de-DE" sz="2400">
                <a:solidFill>
                  <a:srgbClr val="575757"/>
                </a:solidFill>
              </a:rPr>
              <a:t> </a:t>
            </a:r>
            <a:r>
              <a:rPr lang="de-DE" sz="2400" err="1">
                <a:solidFill>
                  <a:srgbClr val="575757"/>
                </a:solidFill>
              </a:rPr>
              <a:t>of</a:t>
            </a:r>
            <a:r>
              <a:rPr lang="de-DE" sz="2400">
                <a:solidFill>
                  <a:srgbClr val="575757"/>
                </a:solidFill>
              </a:rPr>
              <a:t> </a:t>
            </a:r>
            <a:r>
              <a:rPr lang="de-DE" sz="2400" err="1">
                <a:solidFill>
                  <a:srgbClr val="575757"/>
                </a:solidFill>
              </a:rPr>
              <a:t>about</a:t>
            </a:r>
            <a:r>
              <a:rPr lang="de-DE" sz="2400">
                <a:solidFill>
                  <a:srgbClr val="575757"/>
                </a:solidFill>
              </a:rPr>
              <a:t> </a:t>
            </a:r>
            <a:r>
              <a:rPr lang="de-DE" sz="2400" err="1">
                <a:solidFill>
                  <a:srgbClr val="575757"/>
                </a:solidFill>
              </a:rPr>
              <a:t>one</a:t>
            </a:r>
            <a:r>
              <a:rPr lang="de-DE" sz="2400">
                <a:solidFill>
                  <a:srgbClr val="575757"/>
                </a:solidFill>
              </a:rPr>
              <a:t> </a:t>
            </a:r>
            <a:r>
              <a:rPr lang="de-DE" sz="2400" err="1">
                <a:solidFill>
                  <a:srgbClr val="575757"/>
                </a:solidFill>
              </a:rPr>
              <a:t>year</a:t>
            </a:r>
            <a:r>
              <a:rPr lang="de-DE" sz="2400">
                <a:solidFill>
                  <a:srgbClr val="575757"/>
                </a:solidFill>
              </a:rPr>
              <a:t> (05/2020 – 05/2021)</a:t>
            </a:r>
          </a:p>
          <a:p>
            <a:pPr lvl="1"/>
            <a:endParaRPr lang="de-DE" sz="2400">
              <a:solidFill>
                <a:srgbClr val="575757"/>
              </a:solidFill>
            </a:endParaRPr>
          </a:p>
          <a:p>
            <a:pPr marL="800100" lvl="1" indent="-342900">
              <a:buFont typeface="Courier New"/>
              <a:buChar char="o"/>
            </a:pPr>
            <a:endParaRPr lang="de-DE" sz="2400">
              <a:solidFill>
                <a:srgbClr val="575757"/>
              </a:solidFill>
            </a:endParaRPr>
          </a:p>
          <a:p>
            <a:pPr lvl="1"/>
            <a:endParaRPr lang="de-DE" sz="2400">
              <a:solidFill>
                <a:srgbClr val="575757"/>
              </a:solidFill>
            </a:endParaRPr>
          </a:p>
          <a:p>
            <a:pPr marL="342900" indent="-342900">
              <a:buFont typeface="Courier New"/>
              <a:buChar char="o"/>
            </a:pPr>
            <a:r>
              <a:rPr lang="de-DE" sz="2400">
                <a:solidFill>
                  <a:srgbClr val="575757"/>
                </a:solidFill>
              </a:rPr>
              <a:t>1 </a:t>
            </a:r>
            <a:r>
              <a:rPr lang="de-DE" sz="2400" err="1">
                <a:solidFill>
                  <a:srgbClr val="575757"/>
                </a:solidFill>
              </a:rPr>
              <a:t>csv</a:t>
            </a:r>
            <a:r>
              <a:rPr lang="de-DE" sz="2400">
                <a:solidFill>
                  <a:srgbClr val="575757"/>
                </a:solidFill>
              </a:rPr>
              <a:t>.-File</a:t>
            </a:r>
          </a:p>
          <a:p>
            <a:pPr marL="800100" lvl="1" indent="-342900">
              <a:buFont typeface="Courier New"/>
              <a:buChar char="o"/>
            </a:pPr>
            <a:r>
              <a:rPr lang="de-DE" sz="2400">
                <a:solidFill>
                  <a:srgbClr val="575757"/>
                </a:solidFill>
              </a:rPr>
              <a:t>Additional </a:t>
            </a:r>
            <a:r>
              <a:rPr lang="de-DE" sz="2400" err="1">
                <a:solidFill>
                  <a:srgbClr val="575757"/>
                </a:solidFill>
              </a:rPr>
              <a:t>information</a:t>
            </a:r>
            <a:r>
              <a:rPr lang="de-DE" sz="2400">
                <a:solidFill>
                  <a:srgbClr val="575757"/>
                </a:solidFill>
              </a:rPr>
              <a:t> </a:t>
            </a:r>
            <a:r>
              <a:rPr lang="de-DE" sz="2400" err="1">
                <a:solidFill>
                  <a:srgbClr val="575757"/>
                </a:solidFill>
              </a:rPr>
              <a:t>about</a:t>
            </a:r>
            <a:r>
              <a:rPr lang="de-DE" sz="2400">
                <a:solidFill>
                  <a:srgbClr val="575757"/>
                </a:solidFill>
              </a:rPr>
              <a:t> </a:t>
            </a:r>
            <a:r>
              <a:rPr lang="de-DE" sz="2400" err="1">
                <a:solidFill>
                  <a:srgbClr val="575757"/>
                </a:solidFill>
              </a:rPr>
              <a:t>position</a:t>
            </a:r>
            <a:r>
              <a:rPr lang="de-DE" sz="2400">
                <a:solidFill>
                  <a:srgbClr val="575757"/>
                </a:solidFill>
              </a:rPr>
              <a:t> and </a:t>
            </a:r>
            <a:r>
              <a:rPr lang="de-DE" sz="2400" err="1">
                <a:solidFill>
                  <a:srgbClr val="575757"/>
                </a:solidFill>
              </a:rPr>
              <a:t>colour</a:t>
            </a:r>
            <a:r>
              <a:rPr lang="de-DE" sz="2400">
                <a:solidFill>
                  <a:srgbClr val="575757"/>
                </a:solidFill>
              </a:rPr>
              <a:t> </a:t>
            </a:r>
            <a:r>
              <a:rPr lang="de-DE" sz="2400" err="1">
                <a:solidFill>
                  <a:srgbClr val="575757"/>
                </a:solidFill>
              </a:rPr>
              <a:t>of</a:t>
            </a:r>
            <a:r>
              <a:rPr lang="de-DE" sz="2400">
                <a:solidFill>
                  <a:srgbClr val="575757"/>
                </a:solidFill>
              </a:rPr>
              <a:t> </a:t>
            </a:r>
            <a:r>
              <a:rPr lang="de-DE" sz="2400" err="1">
                <a:solidFill>
                  <a:srgbClr val="575757"/>
                </a:solidFill>
              </a:rPr>
              <a:t>each</a:t>
            </a:r>
            <a:r>
              <a:rPr lang="de-DE" sz="2400">
                <a:solidFill>
                  <a:srgbClr val="575757"/>
                </a:solidFill>
              </a:rPr>
              <a:t> </a:t>
            </a:r>
            <a:r>
              <a:rPr lang="de-DE" sz="2400" err="1">
                <a:solidFill>
                  <a:srgbClr val="575757"/>
                </a:solidFill>
              </a:rPr>
              <a:t>container</a:t>
            </a:r>
            <a:endParaRPr lang="de-DE" sz="2400">
              <a:solidFill>
                <a:srgbClr val="575757"/>
              </a:solidFill>
            </a:endParaRPr>
          </a:p>
        </p:txBody>
      </p:sp>
      <p:pic>
        <p:nvPicPr>
          <p:cNvPr id="4" name="Grafik 4" descr="Ein Bild, das blau enthält.&#10;&#10;Beschreibung automatisch generiert.">
            <a:extLst>
              <a:ext uri="{FF2B5EF4-FFF2-40B4-BE49-F238E27FC236}">
                <a16:creationId xmlns:a16="http://schemas.microsoft.com/office/drawing/2014/main" id="{5AE19E7C-84A9-415F-9546-ABF225233AFB}"/>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4580" b="94275" l="5363" r="95584">
                        <a14:foregroundMark x1="38486" y1="55725" x2="69085" y2="83588"/>
                        <a14:foregroundMark x1="35016" y1="90840" x2="60252" y2="88168"/>
                        <a14:foregroundMark x1="60252" y1="88168" x2="79811" y2="94656"/>
                        <a14:foregroundMark x1="79811" y1="94656" x2="79811" y2="94275"/>
                        <a14:foregroundMark x1="91483" y1="92366" x2="92744" y2="88931"/>
                        <a14:foregroundMark x1="95899" y1="92748" x2="95899" y2="92748"/>
                        <a14:foregroundMark x1="82334" y1="7252" x2="64669" y2="10687"/>
                        <a14:foregroundMark x1="64669" y1="10687" x2="20820" y2="9542"/>
                        <a14:foregroundMark x1="20820" y1="9542" x2="26183" y2="33588"/>
                        <a14:foregroundMark x1="26183" y1="33588" x2="47003" y2="55725"/>
                        <a14:foregroundMark x1="47003" y1="55725" x2="46057" y2="79008"/>
                        <a14:foregroundMark x1="46057" y1="79008" x2="60568" y2="60305"/>
                        <a14:foregroundMark x1="60568" y1="60305" x2="60252" y2="60687"/>
                        <a14:foregroundMark x1="17981" y1="19466" x2="15457" y2="10305"/>
                        <a14:foregroundMark x1="17035" y1="6489" x2="31230" y2="18702"/>
                        <a14:foregroundMark x1="24606" y1="6489" x2="29338" y2="8397"/>
                        <a14:foregroundMark x1="5678" y1="90458" x2="5678" y2="90458"/>
                        <a14:foregroundMark x1="47003" y1="6107" x2="47003" y2="6107"/>
                        <a14:foregroundMark x1="51104" y1="4580" x2="52681" y2="7634"/>
                        <a14:foregroundMark x1="60568" y1="93511" x2="37224" y2="94275"/>
                        <a14:foregroundMark x1="41956" y1="69084" x2="47319" y2="79389"/>
                        <a14:foregroundMark x1="49211" y1="82443" x2="49842" y2="81298"/>
                      </a14:backgroundRemoval>
                    </a14:imgEffect>
                  </a14:imgLayer>
                </a14:imgProps>
              </a:ext>
            </a:extLst>
          </a:blip>
          <a:stretch>
            <a:fillRect/>
          </a:stretch>
        </p:blipFill>
        <p:spPr>
          <a:xfrm>
            <a:off x="10167973" y="178963"/>
            <a:ext cx="1757874" cy="1452880"/>
          </a:xfrm>
          <a:prstGeom prst="rect">
            <a:avLst/>
          </a:prstGeom>
        </p:spPr>
      </p:pic>
      <p:sp>
        <p:nvSpPr>
          <p:cNvPr id="5" name="Rechteck: eine Ecke abgeschnitten 4">
            <a:extLst>
              <a:ext uri="{FF2B5EF4-FFF2-40B4-BE49-F238E27FC236}">
                <a16:creationId xmlns:a16="http://schemas.microsoft.com/office/drawing/2014/main" id="{987D4EFE-78E1-4387-9437-610F62073D4A}"/>
              </a:ext>
            </a:extLst>
          </p:cNvPr>
          <p:cNvSpPr/>
          <p:nvPr/>
        </p:nvSpPr>
        <p:spPr>
          <a:xfrm>
            <a:off x="1026019" y="4157572"/>
            <a:ext cx="603250" cy="639400"/>
          </a:xfrm>
          <a:prstGeom prst="snip1Rect">
            <a:avLst/>
          </a:prstGeom>
          <a:solidFill>
            <a:schemeClr val="accent2">
              <a:lumMod val="40000"/>
              <a:lumOff val="6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a:solidFill>
                  <a:srgbClr val="FFFFFF"/>
                </a:solidFill>
              </a:rPr>
              <a:t>CSV</a:t>
            </a:r>
          </a:p>
        </p:txBody>
      </p:sp>
      <p:sp>
        <p:nvSpPr>
          <p:cNvPr id="9" name="Rechteck: eine Ecke abgeschnitten 8">
            <a:extLst>
              <a:ext uri="{FF2B5EF4-FFF2-40B4-BE49-F238E27FC236}">
                <a16:creationId xmlns:a16="http://schemas.microsoft.com/office/drawing/2014/main" id="{8D0DCCF3-ED5B-49F9-A0CC-3C6102669D81}"/>
              </a:ext>
            </a:extLst>
          </p:cNvPr>
          <p:cNvSpPr/>
          <p:nvPr/>
        </p:nvSpPr>
        <p:spPr>
          <a:xfrm>
            <a:off x="1058263" y="1710462"/>
            <a:ext cx="603250" cy="639400"/>
          </a:xfrm>
          <a:prstGeom prst="snip1Rect">
            <a:avLst/>
          </a:prstGeom>
          <a:solidFill>
            <a:schemeClr val="accent2">
              <a:lumMod val="40000"/>
              <a:lumOff val="6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a:solidFill>
                  <a:srgbClr val="FFFFFF"/>
                </a:solidFill>
              </a:rPr>
              <a:t>CSV</a:t>
            </a:r>
          </a:p>
        </p:txBody>
      </p:sp>
      <p:sp>
        <p:nvSpPr>
          <p:cNvPr id="10" name="Rechteck: eine Ecke abgeschnitten 9">
            <a:extLst>
              <a:ext uri="{FF2B5EF4-FFF2-40B4-BE49-F238E27FC236}">
                <a16:creationId xmlns:a16="http://schemas.microsoft.com/office/drawing/2014/main" id="{92F64C58-FD0C-4855-92E9-617AF487638E}"/>
              </a:ext>
            </a:extLst>
          </p:cNvPr>
          <p:cNvSpPr/>
          <p:nvPr/>
        </p:nvSpPr>
        <p:spPr>
          <a:xfrm>
            <a:off x="990891" y="1753328"/>
            <a:ext cx="603250" cy="639400"/>
          </a:xfrm>
          <a:prstGeom prst="snip1Rect">
            <a:avLst/>
          </a:prstGeom>
          <a:solidFill>
            <a:schemeClr val="accent2">
              <a:lumMod val="40000"/>
              <a:lumOff val="6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a:solidFill>
                  <a:srgbClr val="FFFFFF"/>
                </a:solidFill>
              </a:rPr>
              <a:t>CSV</a:t>
            </a:r>
          </a:p>
        </p:txBody>
      </p:sp>
      <p:sp>
        <p:nvSpPr>
          <p:cNvPr id="11" name="Rechteck: eine Ecke abgeschnitten 10">
            <a:extLst>
              <a:ext uri="{FF2B5EF4-FFF2-40B4-BE49-F238E27FC236}">
                <a16:creationId xmlns:a16="http://schemas.microsoft.com/office/drawing/2014/main" id="{FD27FF4A-DFD9-437B-A70B-F7DBFBD2344B}"/>
              </a:ext>
            </a:extLst>
          </p:cNvPr>
          <p:cNvSpPr/>
          <p:nvPr/>
        </p:nvSpPr>
        <p:spPr>
          <a:xfrm>
            <a:off x="909338" y="1817215"/>
            <a:ext cx="603250" cy="639400"/>
          </a:xfrm>
          <a:prstGeom prst="snip1Rect">
            <a:avLst/>
          </a:prstGeom>
          <a:solidFill>
            <a:schemeClr val="accent2">
              <a:lumMod val="40000"/>
              <a:lumOff val="6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200">
                <a:solidFill>
                  <a:srgbClr val="FFFFFF"/>
                </a:solidFill>
              </a:rPr>
              <a:t>TXT</a:t>
            </a:r>
          </a:p>
        </p:txBody>
      </p:sp>
    </p:spTree>
    <p:extLst>
      <p:ext uri="{BB962C8B-B14F-4D97-AF65-F5344CB8AC3E}">
        <p14:creationId xmlns:p14="http://schemas.microsoft.com/office/powerpoint/2010/main" val="4513693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19B9B-9193-4140-874C-B30196EB1CEF}"/>
              </a:ext>
            </a:extLst>
          </p:cNvPr>
          <p:cNvSpPr>
            <a:spLocks noGrp="1"/>
          </p:cNvSpPr>
          <p:nvPr>
            <p:ph type="title"/>
          </p:nvPr>
        </p:nvSpPr>
        <p:spPr>
          <a:xfrm>
            <a:off x="630000" y="622800"/>
            <a:ext cx="10933200" cy="470898"/>
          </a:xfrm>
        </p:spPr>
        <p:txBody>
          <a:bodyPr/>
          <a:lstStyle/>
          <a:p>
            <a:r>
              <a:rPr lang="en-GB"/>
              <a:t>Contained Variables.</a:t>
            </a:r>
            <a:endParaRPr lang="LID4096"/>
          </a:p>
        </p:txBody>
      </p:sp>
      <p:pic>
        <p:nvPicPr>
          <p:cNvPr id="3" name="Grafik 3" descr="Ein Bild, das Text enthält.&#10;&#10;Beschreibung automatisch generiert.">
            <a:extLst>
              <a:ext uri="{FF2B5EF4-FFF2-40B4-BE49-F238E27FC236}">
                <a16:creationId xmlns:a16="http://schemas.microsoft.com/office/drawing/2014/main" id="{3132FBCE-FE6F-4FF7-A65B-58AD17F5414B}"/>
              </a:ext>
            </a:extLst>
          </p:cNvPr>
          <p:cNvPicPr>
            <a:picLocks noChangeAspect="1"/>
          </p:cNvPicPr>
          <p:nvPr/>
        </p:nvPicPr>
        <p:blipFill>
          <a:blip r:embed="rId3"/>
          <a:stretch>
            <a:fillRect/>
          </a:stretch>
        </p:blipFill>
        <p:spPr>
          <a:xfrm>
            <a:off x="7802960" y="1286353"/>
            <a:ext cx="4047392" cy="5318585"/>
          </a:xfrm>
          <a:prstGeom prst="rect">
            <a:avLst/>
          </a:prstGeom>
          <a:ln w="28575">
            <a:solidFill>
              <a:srgbClr val="009682"/>
            </a:solidFill>
          </a:ln>
        </p:spPr>
      </p:pic>
      <p:pic>
        <p:nvPicPr>
          <p:cNvPr id="5" name="Grafik 4">
            <a:extLst>
              <a:ext uri="{FF2B5EF4-FFF2-40B4-BE49-F238E27FC236}">
                <a16:creationId xmlns:a16="http://schemas.microsoft.com/office/drawing/2014/main" id="{E49AF80A-9EEA-4D71-B4B9-3FC59E2E9332}"/>
              </a:ext>
            </a:extLst>
          </p:cNvPr>
          <p:cNvPicPr>
            <a:picLocks noChangeAspect="1"/>
          </p:cNvPicPr>
          <p:nvPr/>
        </p:nvPicPr>
        <p:blipFill>
          <a:blip r:embed="rId4"/>
          <a:stretch>
            <a:fillRect/>
          </a:stretch>
        </p:blipFill>
        <p:spPr>
          <a:xfrm>
            <a:off x="427013" y="1757680"/>
            <a:ext cx="5624554" cy="938219"/>
          </a:xfrm>
          <a:prstGeom prst="rect">
            <a:avLst/>
          </a:prstGeom>
          <a:ln w="28575">
            <a:solidFill>
              <a:srgbClr val="009682"/>
            </a:solidFill>
          </a:ln>
        </p:spPr>
      </p:pic>
      <p:sp>
        <p:nvSpPr>
          <p:cNvPr id="6" name="Ellipse 5">
            <a:extLst>
              <a:ext uri="{FF2B5EF4-FFF2-40B4-BE49-F238E27FC236}">
                <a16:creationId xmlns:a16="http://schemas.microsoft.com/office/drawing/2014/main" id="{817F9585-899D-4C8E-AFCE-0F4F6EDA2418}"/>
              </a:ext>
            </a:extLst>
          </p:cNvPr>
          <p:cNvSpPr/>
          <p:nvPr/>
        </p:nvSpPr>
        <p:spPr>
          <a:xfrm>
            <a:off x="341648" y="1674568"/>
            <a:ext cx="657362" cy="360680"/>
          </a:xfrm>
          <a:prstGeom prst="ellipse">
            <a:avLst/>
          </a:prstGeom>
          <a:noFill/>
          <a:ln w="28575" cap="rnd" cmpd="sng" algn="ctr">
            <a:solidFill>
              <a:schemeClr val="accent3">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8" name="Textfeld 7">
            <a:extLst>
              <a:ext uri="{FF2B5EF4-FFF2-40B4-BE49-F238E27FC236}">
                <a16:creationId xmlns:a16="http://schemas.microsoft.com/office/drawing/2014/main" id="{2B0FC6A4-06A9-40A3-9454-7AA035D56393}"/>
              </a:ext>
            </a:extLst>
          </p:cNvPr>
          <p:cNvSpPr txBox="1"/>
          <p:nvPr/>
        </p:nvSpPr>
        <p:spPr>
          <a:xfrm>
            <a:off x="5506719" y="1232608"/>
            <a:ext cx="487973" cy="50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de-DE">
                <a:solidFill>
                  <a:schemeClr val="accent3">
                    <a:lumMod val="75000"/>
                  </a:schemeClr>
                </a:solidFill>
              </a:rPr>
              <a:t>JOIN</a:t>
            </a:r>
          </a:p>
        </p:txBody>
      </p:sp>
      <p:sp>
        <p:nvSpPr>
          <p:cNvPr id="10" name="Freihandform: Form 9">
            <a:extLst>
              <a:ext uri="{FF2B5EF4-FFF2-40B4-BE49-F238E27FC236}">
                <a16:creationId xmlns:a16="http://schemas.microsoft.com/office/drawing/2014/main" id="{527F9269-58B5-4005-B2FF-6C4F7386B2ED}"/>
              </a:ext>
            </a:extLst>
          </p:cNvPr>
          <p:cNvSpPr/>
          <p:nvPr/>
        </p:nvSpPr>
        <p:spPr>
          <a:xfrm>
            <a:off x="843280" y="1433719"/>
            <a:ext cx="4622800" cy="268081"/>
          </a:xfrm>
          <a:custGeom>
            <a:avLst/>
            <a:gdLst>
              <a:gd name="connsiteX0" fmla="*/ 0 w 4556760"/>
              <a:gd name="connsiteY0" fmla="*/ 268081 h 268081"/>
              <a:gd name="connsiteX1" fmla="*/ 2545080 w 4556760"/>
              <a:gd name="connsiteY1" fmla="*/ 9001 h 268081"/>
              <a:gd name="connsiteX2" fmla="*/ 4556760 w 4556760"/>
              <a:gd name="connsiteY2" fmla="*/ 54721 h 268081"/>
              <a:gd name="connsiteX3" fmla="*/ 4556760 w 4556760"/>
              <a:gd name="connsiteY3" fmla="*/ 54721 h 268081"/>
            </a:gdLst>
            <a:ahLst/>
            <a:cxnLst>
              <a:cxn ang="0">
                <a:pos x="connsiteX0" y="connsiteY0"/>
              </a:cxn>
              <a:cxn ang="0">
                <a:pos x="connsiteX1" y="connsiteY1"/>
              </a:cxn>
              <a:cxn ang="0">
                <a:pos x="connsiteX2" y="connsiteY2"/>
              </a:cxn>
              <a:cxn ang="0">
                <a:pos x="connsiteX3" y="connsiteY3"/>
              </a:cxn>
            </a:cxnLst>
            <a:rect l="l" t="t" r="r" b="b"/>
            <a:pathLst>
              <a:path w="4556760" h="268081">
                <a:moveTo>
                  <a:pt x="0" y="268081"/>
                </a:moveTo>
                <a:cubicBezTo>
                  <a:pt x="892810" y="156321"/>
                  <a:pt x="1785620" y="44561"/>
                  <a:pt x="2545080" y="9001"/>
                </a:cubicBezTo>
                <a:cubicBezTo>
                  <a:pt x="3304540" y="-26559"/>
                  <a:pt x="4556760" y="54721"/>
                  <a:pt x="4556760" y="54721"/>
                </a:cubicBezTo>
                <a:lnTo>
                  <a:pt x="4556760" y="54721"/>
                </a:lnTo>
              </a:path>
            </a:pathLst>
          </a:custGeom>
          <a:noFill/>
          <a:ln w="28575" cap="rnd" cmpd="sng" algn="ctr">
            <a:solidFill>
              <a:schemeClr val="accent3">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11" name="Freihandform: Form 10">
            <a:extLst>
              <a:ext uri="{FF2B5EF4-FFF2-40B4-BE49-F238E27FC236}">
                <a16:creationId xmlns:a16="http://schemas.microsoft.com/office/drawing/2014/main" id="{D0CC215E-9222-48A3-87D4-CBCE0F6294B3}"/>
              </a:ext>
            </a:extLst>
          </p:cNvPr>
          <p:cNvSpPr/>
          <p:nvPr/>
        </p:nvSpPr>
        <p:spPr>
          <a:xfrm>
            <a:off x="6050281" y="1513840"/>
            <a:ext cx="1666320" cy="316723"/>
          </a:xfrm>
          <a:custGeom>
            <a:avLst/>
            <a:gdLst>
              <a:gd name="connsiteX0" fmla="*/ 0 w 1739005"/>
              <a:gd name="connsiteY0" fmla="*/ 0 h 316723"/>
              <a:gd name="connsiteX1" fmla="*/ 777240 w 1739005"/>
              <a:gd name="connsiteY1" fmla="*/ 238760 h 316723"/>
              <a:gd name="connsiteX2" fmla="*/ 1656080 w 1739005"/>
              <a:gd name="connsiteY2" fmla="*/ 309880 h 316723"/>
              <a:gd name="connsiteX3" fmla="*/ 1651000 w 1739005"/>
              <a:gd name="connsiteY3" fmla="*/ 309880 h 316723"/>
            </a:gdLst>
            <a:ahLst/>
            <a:cxnLst>
              <a:cxn ang="0">
                <a:pos x="connsiteX0" y="connsiteY0"/>
              </a:cxn>
              <a:cxn ang="0">
                <a:pos x="connsiteX1" y="connsiteY1"/>
              </a:cxn>
              <a:cxn ang="0">
                <a:pos x="connsiteX2" y="connsiteY2"/>
              </a:cxn>
              <a:cxn ang="0">
                <a:pos x="connsiteX3" y="connsiteY3"/>
              </a:cxn>
            </a:cxnLst>
            <a:rect l="l" t="t" r="r" b="b"/>
            <a:pathLst>
              <a:path w="1739005" h="316723">
                <a:moveTo>
                  <a:pt x="0" y="0"/>
                </a:moveTo>
                <a:cubicBezTo>
                  <a:pt x="250613" y="93556"/>
                  <a:pt x="501227" y="187113"/>
                  <a:pt x="777240" y="238760"/>
                </a:cubicBezTo>
                <a:cubicBezTo>
                  <a:pt x="1053253" y="290407"/>
                  <a:pt x="1656080" y="309880"/>
                  <a:pt x="1656080" y="309880"/>
                </a:cubicBezTo>
                <a:cubicBezTo>
                  <a:pt x="1801707" y="321733"/>
                  <a:pt x="1726353" y="315806"/>
                  <a:pt x="1651000" y="309880"/>
                </a:cubicBezTo>
              </a:path>
            </a:pathLst>
          </a:custGeom>
          <a:noFill/>
          <a:ln w="28575" cap="rnd" cmpd="sng" algn="ctr">
            <a:solidFill>
              <a:schemeClr val="accent3">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13" name="Rechteck 12">
            <a:extLst>
              <a:ext uri="{FF2B5EF4-FFF2-40B4-BE49-F238E27FC236}">
                <a16:creationId xmlns:a16="http://schemas.microsoft.com/office/drawing/2014/main" id="{CF590CEC-3D32-429C-8897-D005EE8579A4}"/>
              </a:ext>
            </a:extLst>
          </p:cNvPr>
          <p:cNvSpPr/>
          <p:nvPr/>
        </p:nvSpPr>
        <p:spPr>
          <a:xfrm>
            <a:off x="7859835" y="2264263"/>
            <a:ext cx="934121" cy="144041"/>
          </a:xfrm>
          <a:prstGeom prst="rect">
            <a:avLst/>
          </a:prstGeom>
          <a:solidFill>
            <a:srgbClr val="0F907C">
              <a:alpha val="48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15" name="Rechteck 14">
            <a:extLst>
              <a:ext uri="{FF2B5EF4-FFF2-40B4-BE49-F238E27FC236}">
                <a16:creationId xmlns:a16="http://schemas.microsoft.com/office/drawing/2014/main" id="{E231D3FC-1924-4848-9A9E-CCF979A08B7F}"/>
              </a:ext>
            </a:extLst>
          </p:cNvPr>
          <p:cNvSpPr/>
          <p:nvPr/>
        </p:nvSpPr>
        <p:spPr>
          <a:xfrm>
            <a:off x="7859835" y="1945670"/>
            <a:ext cx="866481" cy="144041"/>
          </a:xfrm>
          <a:prstGeom prst="rect">
            <a:avLst/>
          </a:prstGeom>
          <a:solidFill>
            <a:srgbClr val="0F907C">
              <a:alpha val="48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16" name="Rechteck 15">
            <a:extLst>
              <a:ext uri="{FF2B5EF4-FFF2-40B4-BE49-F238E27FC236}">
                <a16:creationId xmlns:a16="http://schemas.microsoft.com/office/drawing/2014/main" id="{4BFA15F4-DBE4-4E3A-9A2D-C389E7D10494}"/>
              </a:ext>
            </a:extLst>
          </p:cNvPr>
          <p:cNvSpPr/>
          <p:nvPr/>
        </p:nvSpPr>
        <p:spPr>
          <a:xfrm>
            <a:off x="7859835" y="2920395"/>
            <a:ext cx="2317628" cy="144041"/>
          </a:xfrm>
          <a:prstGeom prst="rect">
            <a:avLst/>
          </a:prstGeom>
          <a:solidFill>
            <a:srgbClr val="0F907C">
              <a:alpha val="48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17" name="Rechteck 16">
            <a:extLst>
              <a:ext uri="{FF2B5EF4-FFF2-40B4-BE49-F238E27FC236}">
                <a16:creationId xmlns:a16="http://schemas.microsoft.com/office/drawing/2014/main" id="{5DC8EDC2-5624-4CE5-957B-D29F429DF997}"/>
              </a:ext>
            </a:extLst>
          </p:cNvPr>
          <p:cNvSpPr/>
          <p:nvPr/>
        </p:nvSpPr>
        <p:spPr>
          <a:xfrm>
            <a:off x="7859834" y="3750975"/>
            <a:ext cx="2471615" cy="144041"/>
          </a:xfrm>
          <a:prstGeom prst="rect">
            <a:avLst/>
          </a:prstGeom>
          <a:solidFill>
            <a:srgbClr val="0F907C">
              <a:alpha val="48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18" name="Rechteck 17">
            <a:extLst>
              <a:ext uri="{FF2B5EF4-FFF2-40B4-BE49-F238E27FC236}">
                <a16:creationId xmlns:a16="http://schemas.microsoft.com/office/drawing/2014/main" id="{2F45175A-190F-414D-A253-A733EF98DB85}"/>
              </a:ext>
            </a:extLst>
          </p:cNvPr>
          <p:cNvSpPr/>
          <p:nvPr/>
        </p:nvSpPr>
        <p:spPr>
          <a:xfrm>
            <a:off x="7859834" y="1748190"/>
            <a:ext cx="866481" cy="166970"/>
          </a:xfrm>
          <a:prstGeom prst="rect">
            <a:avLst/>
          </a:prstGeom>
          <a:solidFill>
            <a:srgbClr val="0F907C">
              <a:alpha val="48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7" name="Ellipse 6">
            <a:extLst>
              <a:ext uri="{FF2B5EF4-FFF2-40B4-BE49-F238E27FC236}">
                <a16:creationId xmlns:a16="http://schemas.microsoft.com/office/drawing/2014/main" id="{1BB89803-7F75-4695-8401-D925FA1198A1}"/>
              </a:ext>
            </a:extLst>
          </p:cNvPr>
          <p:cNvSpPr/>
          <p:nvPr/>
        </p:nvSpPr>
        <p:spPr>
          <a:xfrm>
            <a:off x="7716600" y="1740608"/>
            <a:ext cx="1129802" cy="174552"/>
          </a:xfrm>
          <a:prstGeom prst="ellipse">
            <a:avLst/>
          </a:prstGeom>
          <a:noFill/>
          <a:ln w="28575" cap="rnd" cmpd="sng" algn="ctr">
            <a:solidFill>
              <a:schemeClr val="accent3">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20" name="Rechteck 19">
            <a:extLst>
              <a:ext uri="{FF2B5EF4-FFF2-40B4-BE49-F238E27FC236}">
                <a16:creationId xmlns:a16="http://schemas.microsoft.com/office/drawing/2014/main" id="{1C0C0694-2EE4-42F9-A584-4AEEE848C835}"/>
              </a:ext>
            </a:extLst>
          </p:cNvPr>
          <p:cNvSpPr/>
          <p:nvPr/>
        </p:nvSpPr>
        <p:spPr>
          <a:xfrm>
            <a:off x="2807278" y="1771119"/>
            <a:ext cx="640772" cy="144041"/>
          </a:xfrm>
          <a:prstGeom prst="rect">
            <a:avLst/>
          </a:prstGeom>
          <a:solidFill>
            <a:srgbClr val="0F907C">
              <a:alpha val="48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21" name="Rechteck 20">
            <a:extLst>
              <a:ext uri="{FF2B5EF4-FFF2-40B4-BE49-F238E27FC236}">
                <a16:creationId xmlns:a16="http://schemas.microsoft.com/office/drawing/2014/main" id="{C98C473A-805F-4E9C-B25D-EC71A8127F8F}"/>
              </a:ext>
            </a:extLst>
          </p:cNvPr>
          <p:cNvSpPr/>
          <p:nvPr/>
        </p:nvSpPr>
        <p:spPr>
          <a:xfrm>
            <a:off x="5632424" y="1771119"/>
            <a:ext cx="374677" cy="144041"/>
          </a:xfrm>
          <a:prstGeom prst="rect">
            <a:avLst/>
          </a:prstGeom>
          <a:solidFill>
            <a:srgbClr val="0F907C">
              <a:alpha val="48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cxnSp>
        <p:nvCxnSpPr>
          <p:cNvPr id="23" name="Gerader Verbinder 22">
            <a:extLst>
              <a:ext uri="{FF2B5EF4-FFF2-40B4-BE49-F238E27FC236}">
                <a16:creationId xmlns:a16="http://schemas.microsoft.com/office/drawing/2014/main" id="{79358C49-710B-4490-9663-1D02594B94A5}"/>
              </a:ext>
            </a:extLst>
          </p:cNvPr>
          <p:cNvCxnSpPr>
            <a:cxnSpLocks/>
          </p:cNvCxnSpPr>
          <p:nvPr/>
        </p:nvCxnSpPr>
        <p:spPr>
          <a:xfrm>
            <a:off x="7859834" y="2166937"/>
            <a:ext cx="934122"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 name="Gerader Verbinder 24">
            <a:extLst>
              <a:ext uri="{FF2B5EF4-FFF2-40B4-BE49-F238E27FC236}">
                <a16:creationId xmlns:a16="http://schemas.microsoft.com/office/drawing/2014/main" id="{3DEFEA60-6EE8-433C-AC29-A4F28CF8CD8C}"/>
              </a:ext>
            </a:extLst>
          </p:cNvPr>
          <p:cNvCxnSpPr>
            <a:cxnSpLocks/>
          </p:cNvCxnSpPr>
          <p:nvPr/>
        </p:nvCxnSpPr>
        <p:spPr>
          <a:xfrm>
            <a:off x="7859834" y="2505074"/>
            <a:ext cx="2174754"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7" name="Gerader Verbinder 26">
            <a:extLst>
              <a:ext uri="{FF2B5EF4-FFF2-40B4-BE49-F238E27FC236}">
                <a16:creationId xmlns:a16="http://schemas.microsoft.com/office/drawing/2014/main" id="{1F3F6715-6B63-402F-AFAD-F19B6BF9ECA6}"/>
              </a:ext>
            </a:extLst>
          </p:cNvPr>
          <p:cNvCxnSpPr>
            <a:cxnSpLocks/>
          </p:cNvCxnSpPr>
          <p:nvPr/>
        </p:nvCxnSpPr>
        <p:spPr>
          <a:xfrm>
            <a:off x="7859833" y="2672087"/>
            <a:ext cx="2317629"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9" name="Gerader Verbinder 28">
            <a:extLst>
              <a:ext uri="{FF2B5EF4-FFF2-40B4-BE49-F238E27FC236}">
                <a16:creationId xmlns:a16="http://schemas.microsoft.com/office/drawing/2014/main" id="{74466FAB-69F8-478F-8E70-D00ED1B184A8}"/>
              </a:ext>
            </a:extLst>
          </p:cNvPr>
          <p:cNvCxnSpPr>
            <a:cxnSpLocks/>
          </p:cNvCxnSpPr>
          <p:nvPr/>
        </p:nvCxnSpPr>
        <p:spPr>
          <a:xfrm>
            <a:off x="7859834" y="3162299"/>
            <a:ext cx="2317629"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0" name="Gerader Verbinder 29">
            <a:extLst>
              <a:ext uri="{FF2B5EF4-FFF2-40B4-BE49-F238E27FC236}">
                <a16:creationId xmlns:a16="http://schemas.microsoft.com/office/drawing/2014/main" id="{A0EFE6EA-0108-4B42-ABD7-54F2125ACDEC}"/>
              </a:ext>
            </a:extLst>
          </p:cNvPr>
          <p:cNvCxnSpPr>
            <a:cxnSpLocks/>
          </p:cNvCxnSpPr>
          <p:nvPr/>
        </p:nvCxnSpPr>
        <p:spPr>
          <a:xfrm>
            <a:off x="7859834" y="3324224"/>
            <a:ext cx="2317629"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1" name="Gerader Verbinder 30">
            <a:extLst>
              <a:ext uri="{FF2B5EF4-FFF2-40B4-BE49-F238E27FC236}">
                <a16:creationId xmlns:a16="http://schemas.microsoft.com/office/drawing/2014/main" id="{19EB4C99-ADDC-4099-ABB6-EC3132245D48}"/>
              </a:ext>
            </a:extLst>
          </p:cNvPr>
          <p:cNvCxnSpPr>
            <a:cxnSpLocks/>
          </p:cNvCxnSpPr>
          <p:nvPr/>
        </p:nvCxnSpPr>
        <p:spPr>
          <a:xfrm>
            <a:off x="7859834" y="3495674"/>
            <a:ext cx="2317629"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2" name="Gerader Verbinder 31">
            <a:extLst>
              <a:ext uri="{FF2B5EF4-FFF2-40B4-BE49-F238E27FC236}">
                <a16:creationId xmlns:a16="http://schemas.microsoft.com/office/drawing/2014/main" id="{5D3A0117-CF30-46D5-BB70-288917AA038B}"/>
              </a:ext>
            </a:extLst>
          </p:cNvPr>
          <p:cNvCxnSpPr>
            <a:cxnSpLocks/>
          </p:cNvCxnSpPr>
          <p:nvPr/>
        </p:nvCxnSpPr>
        <p:spPr>
          <a:xfrm>
            <a:off x="7859834" y="3662362"/>
            <a:ext cx="2317629"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3" name="Gerader Verbinder 32">
            <a:extLst>
              <a:ext uri="{FF2B5EF4-FFF2-40B4-BE49-F238E27FC236}">
                <a16:creationId xmlns:a16="http://schemas.microsoft.com/office/drawing/2014/main" id="{9C750C04-6EE5-490D-8628-347E26093D31}"/>
              </a:ext>
            </a:extLst>
          </p:cNvPr>
          <p:cNvCxnSpPr>
            <a:cxnSpLocks/>
          </p:cNvCxnSpPr>
          <p:nvPr/>
        </p:nvCxnSpPr>
        <p:spPr>
          <a:xfrm>
            <a:off x="7859834" y="4171950"/>
            <a:ext cx="2317629"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4" name="Gerader Verbinder 33">
            <a:extLst>
              <a:ext uri="{FF2B5EF4-FFF2-40B4-BE49-F238E27FC236}">
                <a16:creationId xmlns:a16="http://schemas.microsoft.com/office/drawing/2014/main" id="{3A8B0FB1-D4EF-49ED-9F01-9965A72CF6E1}"/>
              </a:ext>
            </a:extLst>
          </p:cNvPr>
          <p:cNvCxnSpPr>
            <a:cxnSpLocks/>
          </p:cNvCxnSpPr>
          <p:nvPr/>
        </p:nvCxnSpPr>
        <p:spPr>
          <a:xfrm>
            <a:off x="7859834" y="4338638"/>
            <a:ext cx="2471615"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6" name="Gerader Verbinder 35">
            <a:extLst>
              <a:ext uri="{FF2B5EF4-FFF2-40B4-BE49-F238E27FC236}">
                <a16:creationId xmlns:a16="http://schemas.microsoft.com/office/drawing/2014/main" id="{D8254EC8-9563-4139-B55C-661E4D5862EB}"/>
              </a:ext>
            </a:extLst>
          </p:cNvPr>
          <p:cNvCxnSpPr>
            <a:cxnSpLocks/>
          </p:cNvCxnSpPr>
          <p:nvPr/>
        </p:nvCxnSpPr>
        <p:spPr>
          <a:xfrm>
            <a:off x="7859834" y="4495800"/>
            <a:ext cx="1817566"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8" name="Gerader Verbinder 37">
            <a:extLst>
              <a:ext uri="{FF2B5EF4-FFF2-40B4-BE49-F238E27FC236}">
                <a16:creationId xmlns:a16="http://schemas.microsoft.com/office/drawing/2014/main" id="{78870F9A-50A4-4150-AC7C-67174E877590}"/>
              </a:ext>
            </a:extLst>
          </p:cNvPr>
          <p:cNvCxnSpPr>
            <a:cxnSpLocks/>
          </p:cNvCxnSpPr>
          <p:nvPr/>
        </p:nvCxnSpPr>
        <p:spPr>
          <a:xfrm>
            <a:off x="7859833" y="4669632"/>
            <a:ext cx="1936630"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0" name="Gerader Verbinder 39">
            <a:extLst>
              <a:ext uri="{FF2B5EF4-FFF2-40B4-BE49-F238E27FC236}">
                <a16:creationId xmlns:a16="http://schemas.microsoft.com/office/drawing/2014/main" id="{F8ED65A6-ABF7-4704-8E7A-1C603C9359EB}"/>
              </a:ext>
            </a:extLst>
          </p:cNvPr>
          <p:cNvCxnSpPr>
            <a:cxnSpLocks/>
          </p:cNvCxnSpPr>
          <p:nvPr/>
        </p:nvCxnSpPr>
        <p:spPr>
          <a:xfrm>
            <a:off x="7868503" y="4833939"/>
            <a:ext cx="1850905"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2" name="Gerader Verbinder 41">
            <a:extLst>
              <a:ext uri="{FF2B5EF4-FFF2-40B4-BE49-F238E27FC236}">
                <a16:creationId xmlns:a16="http://schemas.microsoft.com/office/drawing/2014/main" id="{F684F859-6740-466A-90FA-A27F5FA366EC}"/>
              </a:ext>
            </a:extLst>
          </p:cNvPr>
          <p:cNvCxnSpPr>
            <a:cxnSpLocks/>
          </p:cNvCxnSpPr>
          <p:nvPr/>
        </p:nvCxnSpPr>
        <p:spPr>
          <a:xfrm>
            <a:off x="7868503" y="5000627"/>
            <a:ext cx="1780322"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4" name="Gerader Verbinder 43">
            <a:extLst>
              <a:ext uri="{FF2B5EF4-FFF2-40B4-BE49-F238E27FC236}">
                <a16:creationId xmlns:a16="http://schemas.microsoft.com/office/drawing/2014/main" id="{7F0FE550-FDFD-4EF4-9009-B1E280CAF945}"/>
              </a:ext>
            </a:extLst>
          </p:cNvPr>
          <p:cNvCxnSpPr>
            <a:cxnSpLocks/>
          </p:cNvCxnSpPr>
          <p:nvPr/>
        </p:nvCxnSpPr>
        <p:spPr>
          <a:xfrm>
            <a:off x="7868503" y="5172077"/>
            <a:ext cx="1850905"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6" name="Gerader Verbinder 45">
            <a:extLst>
              <a:ext uri="{FF2B5EF4-FFF2-40B4-BE49-F238E27FC236}">
                <a16:creationId xmlns:a16="http://schemas.microsoft.com/office/drawing/2014/main" id="{E9FF49D5-6B50-45D1-B706-8274AF74A82B}"/>
              </a:ext>
            </a:extLst>
          </p:cNvPr>
          <p:cNvCxnSpPr>
            <a:cxnSpLocks/>
          </p:cNvCxnSpPr>
          <p:nvPr/>
        </p:nvCxnSpPr>
        <p:spPr>
          <a:xfrm>
            <a:off x="7868503" y="5343527"/>
            <a:ext cx="1850905"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7" name="Gerader Verbinder 46">
            <a:extLst>
              <a:ext uri="{FF2B5EF4-FFF2-40B4-BE49-F238E27FC236}">
                <a16:creationId xmlns:a16="http://schemas.microsoft.com/office/drawing/2014/main" id="{1863928B-0702-4438-8C14-5C9BADC185CD}"/>
              </a:ext>
            </a:extLst>
          </p:cNvPr>
          <p:cNvCxnSpPr>
            <a:cxnSpLocks/>
          </p:cNvCxnSpPr>
          <p:nvPr/>
        </p:nvCxnSpPr>
        <p:spPr>
          <a:xfrm>
            <a:off x="7868503" y="5505452"/>
            <a:ext cx="1850905"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8" name="Gerader Verbinder 47">
            <a:extLst>
              <a:ext uri="{FF2B5EF4-FFF2-40B4-BE49-F238E27FC236}">
                <a16:creationId xmlns:a16="http://schemas.microsoft.com/office/drawing/2014/main" id="{4AC64BA1-CE2C-49D3-94D4-E41DA230DA76}"/>
              </a:ext>
            </a:extLst>
          </p:cNvPr>
          <p:cNvCxnSpPr>
            <a:cxnSpLocks/>
          </p:cNvCxnSpPr>
          <p:nvPr/>
        </p:nvCxnSpPr>
        <p:spPr>
          <a:xfrm>
            <a:off x="7868503" y="5676902"/>
            <a:ext cx="1850905"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9" name="Gerader Verbinder 48">
            <a:extLst>
              <a:ext uri="{FF2B5EF4-FFF2-40B4-BE49-F238E27FC236}">
                <a16:creationId xmlns:a16="http://schemas.microsoft.com/office/drawing/2014/main" id="{AEED985B-C1E2-41FF-8DD6-458A59D4CBD1}"/>
              </a:ext>
            </a:extLst>
          </p:cNvPr>
          <p:cNvCxnSpPr>
            <a:cxnSpLocks/>
          </p:cNvCxnSpPr>
          <p:nvPr/>
        </p:nvCxnSpPr>
        <p:spPr>
          <a:xfrm>
            <a:off x="7868503" y="5841208"/>
            <a:ext cx="1746985"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1" name="Gerader Verbinder 50">
            <a:extLst>
              <a:ext uri="{FF2B5EF4-FFF2-40B4-BE49-F238E27FC236}">
                <a16:creationId xmlns:a16="http://schemas.microsoft.com/office/drawing/2014/main" id="{EE86F474-3867-41F3-BC8C-9A564E452B84}"/>
              </a:ext>
            </a:extLst>
          </p:cNvPr>
          <p:cNvCxnSpPr>
            <a:cxnSpLocks/>
          </p:cNvCxnSpPr>
          <p:nvPr/>
        </p:nvCxnSpPr>
        <p:spPr>
          <a:xfrm>
            <a:off x="7868503" y="6015039"/>
            <a:ext cx="1808897"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3" name="Gerader Verbinder 52">
            <a:extLst>
              <a:ext uri="{FF2B5EF4-FFF2-40B4-BE49-F238E27FC236}">
                <a16:creationId xmlns:a16="http://schemas.microsoft.com/office/drawing/2014/main" id="{1FE839FB-62E0-47D2-9C38-876EFBFB5358}"/>
              </a:ext>
            </a:extLst>
          </p:cNvPr>
          <p:cNvCxnSpPr>
            <a:cxnSpLocks/>
          </p:cNvCxnSpPr>
          <p:nvPr/>
        </p:nvCxnSpPr>
        <p:spPr>
          <a:xfrm>
            <a:off x="7868503" y="6179345"/>
            <a:ext cx="1808897"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4" name="Gerader Verbinder 53">
            <a:extLst>
              <a:ext uri="{FF2B5EF4-FFF2-40B4-BE49-F238E27FC236}">
                <a16:creationId xmlns:a16="http://schemas.microsoft.com/office/drawing/2014/main" id="{CB0113AB-CD10-40C0-A61C-FFB948DDFEC2}"/>
              </a:ext>
            </a:extLst>
          </p:cNvPr>
          <p:cNvCxnSpPr>
            <a:cxnSpLocks/>
          </p:cNvCxnSpPr>
          <p:nvPr/>
        </p:nvCxnSpPr>
        <p:spPr>
          <a:xfrm>
            <a:off x="7868503" y="6341270"/>
            <a:ext cx="1808897"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5" name="Gerader Verbinder 54">
            <a:extLst>
              <a:ext uri="{FF2B5EF4-FFF2-40B4-BE49-F238E27FC236}">
                <a16:creationId xmlns:a16="http://schemas.microsoft.com/office/drawing/2014/main" id="{0B7C9FEB-B47E-4312-B386-4C890C0EC14B}"/>
              </a:ext>
            </a:extLst>
          </p:cNvPr>
          <p:cNvCxnSpPr>
            <a:cxnSpLocks/>
          </p:cNvCxnSpPr>
          <p:nvPr/>
        </p:nvCxnSpPr>
        <p:spPr>
          <a:xfrm>
            <a:off x="7868503" y="6510339"/>
            <a:ext cx="1850905"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7" name="Rechteck 56">
            <a:extLst>
              <a:ext uri="{FF2B5EF4-FFF2-40B4-BE49-F238E27FC236}">
                <a16:creationId xmlns:a16="http://schemas.microsoft.com/office/drawing/2014/main" id="{41BD4AF4-DA4F-4E0F-BF77-20F846CD0131}"/>
              </a:ext>
            </a:extLst>
          </p:cNvPr>
          <p:cNvSpPr/>
          <p:nvPr/>
        </p:nvSpPr>
        <p:spPr>
          <a:xfrm>
            <a:off x="427013" y="4271953"/>
            <a:ext cx="934121" cy="144041"/>
          </a:xfrm>
          <a:prstGeom prst="rect">
            <a:avLst/>
          </a:prstGeom>
          <a:solidFill>
            <a:srgbClr val="0F907C">
              <a:alpha val="48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cxnSp>
        <p:nvCxnSpPr>
          <p:cNvPr id="58" name="Gerader Verbinder 57">
            <a:extLst>
              <a:ext uri="{FF2B5EF4-FFF2-40B4-BE49-F238E27FC236}">
                <a16:creationId xmlns:a16="http://schemas.microsoft.com/office/drawing/2014/main" id="{0C6E4E9D-11FB-49E5-9377-19B5E0F20A44}"/>
              </a:ext>
            </a:extLst>
          </p:cNvPr>
          <p:cNvCxnSpPr>
            <a:cxnSpLocks/>
          </p:cNvCxnSpPr>
          <p:nvPr/>
        </p:nvCxnSpPr>
        <p:spPr>
          <a:xfrm>
            <a:off x="427013" y="4700506"/>
            <a:ext cx="916035"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64" name="Textfeld 63">
            <a:extLst>
              <a:ext uri="{FF2B5EF4-FFF2-40B4-BE49-F238E27FC236}">
                <a16:creationId xmlns:a16="http://schemas.microsoft.com/office/drawing/2014/main" id="{5BB807C6-76E1-4D2C-94DD-D5C162E36440}"/>
              </a:ext>
            </a:extLst>
          </p:cNvPr>
          <p:cNvSpPr txBox="1"/>
          <p:nvPr/>
        </p:nvSpPr>
        <p:spPr>
          <a:xfrm>
            <a:off x="1399413" y="4061012"/>
            <a:ext cx="3036861" cy="50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de-DE" err="1">
                <a:solidFill>
                  <a:schemeClr val="bg2">
                    <a:lumMod val="50000"/>
                  </a:schemeClr>
                </a:solidFill>
              </a:rPr>
              <a:t>included</a:t>
            </a:r>
            <a:r>
              <a:rPr lang="de-DE">
                <a:solidFill>
                  <a:schemeClr val="bg2">
                    <a:lumMod val="50000"/>
                  </a:schemeClr>
                </a:solidFill>
              </a:rPr>
              <a:t>: </a:t>
            </a:r>
            <a:r>
              <a:rPr lang="de-DE" err="1">
                <a:solidFill>
                  <a:schemeClr val="bg2">
                    <a:lumMod val="50000"/>
                  </a:schemeClr>
                </a:solidFill>
              </a:rPr>
              <a:t>potentially</a:t>
            </a:r>
            <a:r>
              <a:rPr lang="de-DE">
                <a:solidFill>
                  <a:schemeClr val="bg2">
                    <a:lumMod val="50000"/>
                  </a:schemeClr>
                </a:solidFill>
              </a:rPr>
              <a:t> </a:t>
            </a:r>
            <a:r>
              <a:rPr lang="de-DE" err="1">
                <a:solidFill>
                  <a:schemeClr val="bg2">
                    <a:lumMod val="50000"/>
                  </a:schemeClr>
                </a:solidFill>
              </a:rPr>
              <a:t>usefull</a:t>
            </a:r>
            <a:endParaRPr lang="de-DE">
              <a:solidFill>
                <a:schemeClr val="bg2">
                  <a:lumMod val="50000"/>
                </a:schemeClr>
              </a:solidFill>
            </a:endParaRPr>
          </a:p>
        </p:txBody>
      </p:sp>
      <p:sp>
        <p:nvSpPr>
          <p:cNvPr id="65" name="Textfeld 64">
            <a:extLst>
              <a:ext uri="{FF2B5EF4-FFF2-40B4-BE49-F238E27FC236}">
                <a16:creationId xmlns:a16="http://schemas.microsoft.com/office/drawing/2014/main" id="{1ECBA1B3-2E68-4D3C-A549-79743473D743}"/>
              </a:ext>
            </a:extLst>
          </p:cNvPr>
          <p:cNvSpPr txBox="1"/>
          <p:nvPr/>
        </p:nvSpPr>
        <p:spPr>
          <a:xfrm>
            <a:off x="1399413" y="4415632"/>
            <a:ext cx="5184766" cy="50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de-DE" err="1">
                <a:solidFill>
                  <a:schemeClr val="bg2">
                    <a:lumMod val="50000"/>
                  </a:schemeClr>
                </a:solidFill>
              </a:rPr>
              <a:t>excluded</a:t>
            </a:r>
            <a:r>
              <a:rPr lang="de-DE">
                <a:solidFill>
                  <a:schemeClr val="bg2">
                    <a:lumMod val="50000"/>
                  </a:schemeClr>
                </a:solidFill>
              </a:rPr>
              <a:t>: </a:t>
            </a:r>
            <a:r>
              <a:rPr lang="de-DE" err="1">
                <a:solidFill>
                  <a:schemeClr val="bg2">
                    <a:lumMod val="50000"/>
                  </a:schemeClr>
                </a:solidFill>
              </a:rPr>
              <a:t>no</a:t>
            </a:r>
            <a:r>
              <a:rPr lang="de-DE">
                <a:solidFill>
                  <a:schemeClr val="bg2">
                    <a:lumMod val="50000"/>
                  </a:schemeClr>
                </a:solidFill>
              </a:rPr>
              <a:t> </a:t>
            </a:r>
            <a:r>
              <a:rPr lang="de-DE" err="1">
                <a:solidFill>
                  <a:schemeClr val="bg2">
                    <a:lumMod val="50000"/>
                  </a:schemeClr>
                </a:solidFill>
              </a:rPr>
              <a:t>significance</a:t>
            </a:r>
            <a:r>
              <a:rPr lang="de-DE">
                <a:solidFill>
                  <a:schemeClr val="bg2">
                    <a:lumMod val="50000"/>
                  </a:schemeClr>
                </a:solidFill>
              </a:rPr>
              <a:t> </a:t>
            </a:r>
            <a:r>
              <a:rPr lang="de-DE" err="1">
                <a:solidFill>
                  <a:schemeClr val="bg2">
                    <a:lumMod val="50000"/>
                  </a:schemeClr>
                </a:solidFill>
              </a:rPr>
              <a:t>for</a:t>
            </a:r>
            <a:r>
              <a:rPr lang="de-DE">
                <a:solidFill>
                  <a:schemeClr val="bg2">
                    <a:lumMod val="50000"/>
                  </a:schemeClr>
                </a:solidFill>
              </a:rPr>
              <a:t> </a:t>
            </a:r>
            <a:r>
              <a:rPr lang="de-DE" err="1">
                <a:solidFill>
                  <a:schemeClr val="bg2">
                    <a:lumMod val="50000"/>
                  </a:schemeClr>
                </a:solidFill>
              </a:rPr>
              <a:t>prediction</a:t>
            </a:r>
            <a:r>
              <a:rPr lang="de-DE">
                <a:solidFill>
                  <a:schemeClr val="bg2">
                    <a:lumMod val="50000"/>
                  </a:schemeClr>
                </a:solidFill>
              </a:rPr>
              <a:t> </a:t>
            </a:r>
            <a:r>
              <a:rPr lang="de-DE" err="1">
                <a:solidFill>
                  <a:schemeClr val="bg2">
                    <a:lumMod val="50000"/>
                  </a:schemeClr>
                </a:solidFill>
              </a:rPr>
              <a:t>expected</a:t>
            </a:r>
            <a:endParaRPr lang="de-DE">
              <a:solidFill>
                <a:schemeClr val="bg2">
                  <a:lumMod val="50000"/>
                </a:schemeClr>
              </a:solidFill>
            </a:endParaRPr>
          </a:p>
        </p:txBody>
      </p:sp>
      <p:cxnSp>
        <p:nvCxnSpPr>
          <p:cNvPr id="66" name="Gerader Verbinder 65">
            <a:extLst>
              <a:ext uri="{FF2B5EF4-FFF2-40B4-BE49-F238E27FC236}">
                <a16:creationId xmlns:a16="http://schemas.microsoft.com/office/drawing/2014/main" id="{3B1EEEBA-D7BD-4051-A2BD-B330DF95017B}"/>
              </a:ext>
            </a:extLst>
          </p:cNvPr>
          <p:cNvCxnSpPr>
            <a:cxnSpLocks/>
          </p:cNvCxnSpPr>
          <p:nvPr/>
        </p:nvCxnSpPr>
        <p:spPr>
          <a:xfrm>
            <a:off x="1664494" y="1862485"/>
            <a:ext cx="664369"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8" name="Gerader Verbinder 67">
            <a:extLst>
              <a:ext uri="{FF2B5EF4-FFF2-40B4-BE49-F238E27FC236}">
                <a16:creationId xmlns:a16="http://schemas.microsoft.com/office/drawing/2014/main" id="{9FA5B8D6-88A9-4B35-B0B7-A6D75C1D48A6}"/>
              </a:ext>
            </a:extLst>
          </p:cNvPr>
          <p:cNvCxnSpPr>
            <a:cxnSpLocks/>
          </p:cNvCxnSpPr>
          <p:nvPr/>
        </p:nvCxnSpPr>
        <p:spPr>
          <a:xfrm>
            <a:off x="4536281" y="1854908"/>
            <a:ext cx="664369"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70" name="Textfeld 69">
            <a:extLst>
              <a:ext uri="{FF2B5EF4-FFF2-40B4-BE49-F238E27FC236}">
                <a16:creationId xmlns:a16="http://schemas.microsoft.com/office/drawing/2014/main" id="{42E69DA7-9CFD-48E5-B2EE-3280C0CD336C}"/>
              </a:ext>
            </a:extLst>
          </p:cNvPr>
          <p:cNvSpPr txBox="1"/>
          <p:nvPr/>
        </p:nvSpPr>
        <p:spPr>
          <a:xfrm>
            <a:off x="9615488" y="663689"/>
            <a:ext cx="487973" cy="50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de-DE">
                <a:solidFill>
                  <a:schemeClr val="accent6">
                    <a:lumMod val="60000"/>
                    <a:lumOff val="40000"/>
                  </a:schemeClr>
                </a:solidFill>
              </a:rPr>
              <a:t>same</a:t>
            </a:r>
          </a:p>
        </p:txBody>
      </p:sp>
      <p:sp>
        <p:nvSpPr>
          <p:cNvPr id="71" name="Freihandform: Form 70">
            <a:extLst>
              <a:ext uri="{FF2B5EF4-FFF2-40B4-BE49-F238E27FC236}">
                <a16:creationId xmlns:a16="http://schemas.microsoft.com/office/drawing/2014/main" id="{ACE8E781-372B-4A91-A329-76C9637C4608}"/>
              </a:ext>
            </a:extLst>
          </p:cNvPr>
          <p:cNvSpPr/>
          <p:nvPr/>
        </p:nvSpPr>
        <p:spPr>
          <a:xfrm>
            <a:off x="8720138" y="1057925"/>
            <a:ext cx="1104900" cy="951850"/>
          </a:xfrm>
          <a:custGeom>
            <a:avLst/>
            <a:gdLst>
              <a:gd name="connsiteX0" fmla="*/ 0 w 952042"/>
              <a:gd name="connsiteY0" fmla="*/ 1016881 h 1016881"/>
              <a:gd name="connsiteX1" fmla="*/ 661987 w 952042"/>
              <a:gd name="connsiteY1" fmla="*/ 726369 h 1016881"/>
              <a:gd name="connsiteX2" fmla="*/ 933450 w 952042"/>
              <a:gd name="connsiteY2" fmla="*/ 50094 h 1016881"/>
              <a:gd name="connsiteX3" fmla="*/ 928687 w 952042"/>
              <a:gd name="connsiteY3" fmla="*/ 50094 h 1016881"/>
            </a:gdLst>
            <a:ahLst/>
            <a:cxnLst>
              <a:cxn ang="0">
                <a:pos x="connsiteX0" y="connsiteY0"/>
              </a:cxn>
              <a:cxn ang="0">
                <a:pos x="connsiteX1" y="connsiteY1"/>
              </a:cxn>
              <a:cxn ang="0">
                <a:pos x="connsiteX2" y="connsiteY2"/>
              </a:cxn>
              <a:cxn ang="0">
                <a:pos x="connsiteX3" y="connsiteY3"/>
              </a:cxn>
            </a:cxnLst>
            <a:rect l="l" t="t" r="r" b="b"/>
            <a:pathLst>
              <a:path w="952042" h="1016881">
                <a:moveTo>
                  <a:pt x="0" y="1016881"/>
                </a:moveTo>
                <a:cubicBezTo>
                  <a:pt x="253206" y="952190"/>
                  <a:pt x="506412" y="887500"/>
                  <a:pt x="661987" y="726369"/>
                </a:cubicBezTo>
                <a:cubicBezTo>
                  <a:pt x="817562" y="565238"/>
                  <a:pt x="933450" y="50094"/>
                  <a:pt x="933450" y="50094"/>
                </a:cubicBezTo>
                <a:cubicBezTo>
                  <a:pt x="977900" y="-62618"/>
                  <a:pt x="928687" y="50094"/>
                  <a:pt x="928687" y="50094"/>
                </a:cubicBezTo>
              </a:path>
            </a:pathLst>
          </a:custGeom>
          <a:noFill/>
          <a:ln w="28575" cap="rnd" cmpd="sng" algn="ctr">
            <a:solidFill>
              <a:schemeClr val="accent6">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
        <p:nvSpPr>
          <p:cNvPr id="72" name="Freihandform: Form 71">
            <a:extLst>
              <a:ext uri="{FF2B5EF4-FFF2-40B4-BE49-F238E27FC236}">
                <a16:creationId xmlns:a16="http://schemas.microsoft.com/office/drawing/2014/main" id="{47D6FB04-7207-4ABC-95C2-0E1A65613A5A}"/>
              </a:ext>
            </a:extLst>
          </p:cNvPr>
          <p:cNvSpPr/>
          <p:nvPr/>
        </p:nvSpPr>
        <p:spPr>
          <a:xfrm>
            <a:off x="8796338" y="1038225"/>
            <a:ext cx="1028700" cy="1310062"/>
          </a:xfrm>
          <a:custGeom>
            <a:avLst/>
            <a:gdLst>
              <a:gd name="connsiteX0" fmla="*/ 1028700 w 1028700"/>
              <a:gd name="connsiteY0" fmla="*/ 0 h 1310062"/>
              <a:gd name="connsiteX1" fmla="*/ 857250 w 1028700"/>
              <a:gd name="connsiteY1" fmla="*/ 1109663 h 1310062"/>
              <a:gd name="connsiteX2" fmla="*/ 0 w 1028700"/>
              <a:gd name="connsiteY2" fmla="*/ 1309688 h 1310062"/>
              <a:gd name="connsiteX3" fmla="*/ 0 w 1028700"/>
              <a:gd name="connsiteY3" fmla="*/ 1309688 h 1310062"/>
            </a:gdLst>
            <a:ahLst/>
            <a:cxnLst>
              <a:cxn ang="0">
                <a:pos x="connsiteX0" y="connsiteY0"/>
              </a:cxn>
              <a:cxn ang="0">
                <a:pos x="connsiteX1" y="connsiteY1"/>
              </a:cxn>
              <a:cxn ang="0">
                <a:pos x="connsiteX2" y="connsiteY2"/>
              </a:cxn>
              <a:cxn ang="0">
                <a:pos x="connsiteX3" y="connsiteY3"/>
              </a:cxn>
            </a:cxnLst>
            <a:rect l="l" t="t" r="r" b="b"/>
            <a:pathLst>
              <a:path w="1028700" h="1310062">
                <a:moveTo>
                  <a:pt x="1028700" y="0"/>
                </a:moveTo>
                <a:cubicBezTo>
                  <a:pt x="1028700" y="445691"/>
                  <a:pt x="1028700" y="891382"/>
                  <a:pt x="857250" y="1109663"/>
                </a:cubicBezTo>
                <a:cubicBezTo>
                  <a:pt x="685800" y="1327944"/>
                  <a:pt x="0" y="1309688"/>
                  <a:pt x="0" y="1309688"/>
                </a:cubicBezTo>
                <a:lnTo>
                  <a:pt x="0" y="1309688"/>
                </a:lnTo>
              </a:path>
            </a:pathLst>
          </a:custGeom>
          <a:noFill/>
          <a:ln w="28575" cap="rnd" cmpd="sng" algn="ctr">
            <a:solidFill>
              <a:schemeClr val="accent6">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cxnSp>
        <p:nvCxnSpPr>
          <p:cNvPr id="73" name="Gerader Verbinder 72">
            <a:extLst>
              <a:ext uri="{FF2B5EF4-FFF2-40B4-BE49-F238E27FC236}">
                <a16:creationId xmlns:a16="http://schemas.microsoft.com/office/drawing/2014/main" id="{EEB5230C-5BB2-4789-9B05-C5E6409EBFBA}"/>
              </a:ext>
            </a:extLst>
          </p:cNvPr>
          <p:cNvCxnSpPr>
            <a:cxnSpLocks/>
          </p:cNvCxnSpPr>
          <p:nvPr/>
        </p:nvCxnSpPr>
        <p:spPr>
          <a:xfrm>
            <a:off x="7868503" y="2839568"/>
            <a:ext cx="2317629"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0" name="Gerader Verbinder 49">
            <a:extLst>
              <a:ext uri="{FF2B5EF4-FFF2-40B4-BE49-F238E27FC236}">
                <a16:creationId xmlns:a16="http://schemas.microsoft.com/office/drawing/2014/main" id="{2A9628B2-E836-4C13-9EEF-489448026B54}"/>
              </a:ext>
            </a:extLst>
          </p:cNvPr>
          <p:cNvCxnSpPr>
            <a:cxnSpLocks/>
          </p:cNvCxnSpPr>
          <p:nvPr/>
        </p:nvCxnSpPr>
        <p:spPr>
          <a:xfrm>
            <a:off x="7868503" y="3997512"/>
            <a:ext cx="2053372" cy="0"/>
          </a:xfrm>
          <a:prstGeom prst="lin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650771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19B9B-9193-4140-874C-B30196EB1CEF}"/>
              </a:ext>
            </a:extLst>
          </p:cNvPr>
          <p:cNvSpPr>
            <a:spLocks noGrp="1"/>
          </p:cNvSpPr>
          <p:nvPr>
            <p:ph type="title"/>
          </p:nvPr>
        </p:nvSpPr>
        <p:spPr>
          <a:xfrm>
            <a:off x="630000" y="622800"/>
            <a:ext cx="10933200" cy="470898"/>
          </a:xfrm>
        </p:spPr>
        <p:txBody>
          <a:bodyPr/>
          <a:lstStyle/>
          <a:p>
            <a:r>
              <a:rPr lang="en-GB"/>
              <a:t>First Visualization of Data.</a:t>
            </a:r>
            <a:endParaRPr lang="LID4096"/>
          </a:p>
        </p:txBody>
      </p:sp>
      <p:pic>
        <p:nvPicPr>
          <p:cNvPr id="6" name="Grafik 6" descr="Ein Bild, das Karte enthält.&#10;&#10;Beschreibung automatisch generiert.">
            <a:extLst>
              <a:ext uri="{FF2B5EF4-FFF2-40B4-BE49-F238E27FC236}">
                <a16:creationId xmlns:a16="http://schemas.microsoft.com/office/drawing/2014/main" id="{835428F4-6F32-4CEA-B5C6-862A635B1058}"/>
              </a:ext>
            </a:extLst>
          </p:cNvPr>
          <p:cNvPicPr>
            <a:picLocks noChangeAspect="1"/>
          </p:cNvPicPr>
          <p:nvPr/>
        </p:nvPicPr>
        <p:blipFill>
          <a:blip r:embed="rId3"/>
          <a:stretch>
            <a:fillRect/>
          </a:stretch>
        </p:blipFill>
        <p:spPr>
          <a:xfrm>
            <a:off x="630000" y="1292509"/>
            <a:ext cx="5770800" cy="5238611"/>
          </a:xfrm>
          <a:prstGeom prst="rect">
            <a:avLst/>
          </a:prstGeom>
          <a:ln w="28575">
            <a:solidFill>
              <a:srgbClr val="009682"/>
            </a:solidFill>
          </a:ln>
        </p:spPr>
      </p:pic>
      <p:sp>
        <p:nvSpPr>
          <p:cNvPr id="9" name="Textfeld 8">
            <a:extLst>
              <a:ext uri="{FF2B5EF4-FFF2-40B4-BE49-F238E27FC236}">
                <a16:creationId xmlns:a16="http://schemas.microsoft.com/office/drawing/2014/main" id="{D4AA208F-F474-4CC9-BF80-B48942BF803C}"/>
              </a:ext>
            </a:extLst>
          </p:cNvPr>
          <p:cNvSpPr txBox="1"/>
          <p:nvPr/>
        </p:nvSpPr>
        <p:spPr>
          <a:xfrm>
            <a:off x="3764880" y="1413174"/>
            <a:ext cx="4224670" cy="3515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de-DE" sz="1200" b="1" err="1">
                <a:solidFill>
                  <a:srgbClr val="37373A"/>
                </a:solidFill>
              </a:rPr>
              <a:t>Excluded</a:t>
            </a:r>
            <a:r>
              <a:rPr lang="de-DE" sz="1200" b="1">
                <a:solidFill>
                  <a:srgbClr val="37373A"/>
                </a:solidFill>
              </a:rPr>
              <a:t> </a:t>
            </a:r>
            <a:r>
              <a:rPr lang="de-DE" sz="1200" b="1" err="1">
                <a:solidFill>
                  <a:srgbClr val="37373A"/>
                </a:solidFill>
              </a:rPr>
              <a:t>containers</a:t>
            </a:r>
            <a:r>
              <a:rPr lang="de-DE" sz="1200" b="1">
                <a:solidFill>
                  <a:srgbClr val="37373A"/>
                </a:solidFill>
              </a:rPr>
              <a:t>: 3, 27, 46, 67</a:t>
            </a:r>
          </a:p>
          <a:p>
            <a:endParaRPr lang="de-DE">
              <a:solidFill>
                <a:srgbClr val="575757"/>
              </a:solidFill>
            </a:endParaRPr>
          </a:p>
          <a:p>
            <a:pPr lvl="1"/>
            <a:endParaRPr lang="de-DE">
              <a:solidFill>
                <a:srgbClr val="575757"/>
              </a:solidFill>
            </a:endParaRPr>
          </a:p>
          <a:p>
            <a:pPr marL="285750" indent="-285750">
              <a:buFont typeface="Arial" panose="020B0604020202020204" pitchFamily="34" charset="0"/>
              <a:buChar char="•"/>
            </a:pPr>
            <a:endParaRPr lang="de-DE">
              <a:solidFill>
                <a:srgbClr val="575757"/>
              </a:solidFill>
            </a:endParaRPr>
          </a:p>
        </p:txBody>
      </p:sp>
      <p:pic>
        <p:nvPicPr>
          <p:cNvPr id="11" name="Grafik 10">
            <a:extLst>
              <a:ext uri="{FF2B5EF4-FFF2-40B4-BE49-F238E27FC236}">
                <a16:creationId xmlns:a16="http://schemas.microsoft.com/office/drawing/2014/main" id="{712D0DA3-0A9E-4080-92DC-C650092AB684}"/>
              </a:ext>
            </a:extLst>
          </p:cNvPr>
          <p:cNvPicPr>
            <a:picLocks noChangeAspect="1"/>
          </p:cNvPicPr>
          <p:nvPr/>
        </p:nvPicPr>
        <p:blipFill>
          <a:blip r:embed="rId4"/>
          <a:stretch>
            <a:fillRect/>
          </a:stretch>
        </p:blipFill>
        <p:spPr>
          <a:xfrm>
            <a:off x="6481885" y="3278309"/>
            <a:ext cx="5619791" cy="3252811"/>
          </a:xfrm>
          <a:prstGeom prst="rect">
            <a:avLst/>
          </a:prstGeom>
          <a:ln w="28575">
            <a:solidFill>
              <a:srgbClr val="009682"/>
            </a:solidFill>
          </a:ln>
        </p:spPr>
      </p:pic>
      <p:pic>
        <p:nvPicPr>
          <p:cNvPr id="13" name="Grafik 12">
            <a:extLst>
              <a:ext uri="{FF2B5EF4-FFF2-40B4-BE49-F238E27FC236}">
                <a16:creationId xmlns:a16="http://schemas.microsoft.com/office/drawing/2014/main" id="{63B8E9BE-41A2-4A34-A34B-A7409F5BBB98}"/>
              </a:ext>
            </a:extLst>
          </p:cNvPr>
          <p:cNvPicPr>
            <a:picLocks noChangeAspect="1"/>
          </p:cNvPicPr>
          <p:nvPr/>
        </p:nvPicPr>
        <p:blipFill>
          <a:blip r:embed="rId5"/>
          <a:stretch>
            <a:fillRect/>
          </a:stretch>
        </p:blipFill>
        <p:spPr>
          <a:xfrm>
            <a:off x="6481884" y="165892"/>
            <a:ext cx="5619791" cy="2996591"/>
          </a:xfrm>
          <a:prstGeom prst="rect">
            <a:avLst/>
          </a:prstGeom>
          <a:ln w="28575">
            <a:solidFill>
              <a:srgbClr val="009682"/>
            </a:solidFill>
          </a:ln>
        </p:spPr>
      </p:pic>
    </p:spTree>
    <p:extLst>
      <p:ext uri="{BB962C8B-B14F-4D97-AF65-F5344CB8AC3E}">
        <p14:creationId xmlns:p14="http://schemas.microsoft.com/office/powerpoint/2010/main" val="12337874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19B9B-9193-4140-874C-B30196EB1CEF}"/>
              </a:ext>
            </a:extLst>
          </p:cNvPr>
          <p:cNvSpPr>
            <a:spLocks noGrp="1"/>
          </p:cNvSpPr>
          <p:nvPr>
            <p:ph type="title"/>
          </p:nvPr>
        </p:nvSpPr>
        <p:spPr>
          <a:xfrm>
            <a:off x="630000" y="622800"/>
            <a:ext cx="10933200" cy="470898"/>
          </a:xfrm>
        </p:spPr>
        <p:txBody>
          <a:bodyPr/>
          <a:lstStyle/>
          <a:p>
            <a:r>
              <a:rPr lang="en-GB"/>
              <a:t>First Visualization of Data.</a:t>
            </a:r>
            <a:endParaRPr lang="LID4096"/>
          </a:p>
        </p:txBody>
      </p:sp>
      <p:sp>
        <p:nvSpPr>
          <p:cNvPr id="3" name="Rechteck 2">
            <a:extLst>
              <a:ext uri="{FF2B5EF4-FFF2-40B4-BE49-F238E27FC236}">
                <a16:creationId xmlns:a16="http://schemas.microsoft.com/office/drawing/2014/main" id="{5CBDD949-60F6-4EE2-88F9-3A40E6DFD348}"/>
              </a:ext>
            </a:extLst>
          </p:cNvPr>
          <p:cNvSpPr/>
          <p:nvPr/>
        </p:nvSpPr>
        <p:spPr>
          <a:xfrm>
            <a:off x="127080" y="1138471"/>
            <a:ext cx="11937840" cy="5549560"/>
          </a:xfrm>
          <a:prstGeom prst="rect">
            <a:avLst/>
          </a:prstGeom>
          <a:noFill/>
          <a:ln w="28575" cap="rnd" cmpd="sng" algn="ctr">
            <a:solidFill>
              <a:srgbClr val="00968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pic>
        <p:nvPicPr>
          <p:cNvPr id="8" name="Grafik 8">
            <a:extLst>
              <a:ext uri="{FF2B5EF4-FFF2-40B4-BE49-F238E27FC236}">
                <a16:creationId xmlns:a16="http://schemas.microsoft.com/office/drawing/2014/main" id="{71AC1A79-323B-47A5-ABBD-24EEE9BF112E}"/>
              </a:ext>
            </a:extLst>
          </p:cNvPr>
          <p:cNvPicPr>
            <a:picLocks noChangeAspect="1"/>
          </p:cNvPicPr>
          <p:nvPr/>
        </p:nvPicPr>
        <p:blipFill>
          <a:blip r:embed="rId3"/>
          <a:stretch>
            <a:fillRect/>
          </a:stretch>
        </p:blipFill>
        <p:spPr>
          <a:xfrm>
            <a:off x="135466" y="1135249"/>
            <a:ext cx="5960533" cy="1768101"/>
          </a:xfrm>
          <a:prstGeom prst="rect">
            <a:avLst/>
          </a:prstGeom>
        </p:spPr>
      </p:pic>
      <p:pic>
        <p:nvPicPr>
          <p:cNvPr id="9" name="Grafik 9" descr="Ein Bild, das Text, Antenne enthält.&#10;&#10;Beschreibung automatisch generiert.">
            <a:extLst>
              <a:ext uri="{FF2B5EF4-FFF2-40B4-BE49-F238E27FC236}">
                <a16:creationId xmlns:a16="http://schemas.microsoft.com/office/drawing/2014/main" id="{1463D5E7-077E-4CFB-8445-6F10349372BB}"/>
              </a:ext>
            </a:extLst>
          </p:cNvPr>
          <p:cNvPicPr>
            <a:picLocks noChangeAspect="1"/>
          </p:cNvPicPr>
          <p:nvPr/>
        </p:nvPicPr>
        <p:blipFill>
          <a:blip r:embed="rId4"/>
          <a:stretch>
            <a:fillRect/>
          </a:stretch>
        </p:blipFill>
        <p:spPr>
          <a:xfrm>
            <a:off x="127001" y="2904782"/>
            <a:ext cx="5985932" cy="1776569"/>
          </a:xfrm>
          <a:prstGeom prst="rect">
            <a:avLst/>
          </a:prstGeom>
        </p:spPr>
      </p:pic>
      <p:pic>
        <p:nvPicPr>
          <p:cNvPr id="10" name="Grafik 10">
            <a:extLst>
              <a:ext uri="{FF2B5EF4-FFF2-40B4-BE49-F238E27FC236}">
                <a16:creationId xmlns:a16="http://schemas.microsoft.com/office/drawing/2014/main" id="{0AFFC65F-8313-4F15-A828-7838F6161B19}"/>
              </a:ext>
            </a:extLst>
          </p:cNvPr>
          <p:cNvPicPr>
            <a:picLocks noChangeAspect="1"/>
          </p:cNvPicPr>
          <p:nvPr/>
        </p:nvPicPr>
        <p:blipFill>
          <a:blip r:embed="rId5"/>
          <a:stretch>
            <a:fillRect/>
          </a:stretch>
        </p:blipFill>
        <p:spPr>
          <a:xfrm>
            <a:off x="135467" y="4682782"/>
            <a:ext cx="6011333" cy="1725769"/>
          </a:xfrm>
          <a:prstGeom prst="rect">
            <a:avLst/>
          </a:prstGeom>
        </p:spPr>
      </p:pic>
      <p:pic>
        <p:nvPicPr>
          <p:cNvPr id="11" name="Grafik 11">
            <a:extLst>
              <a:ext uri="{FF2B5EF4-FFF2-40B4-BE49-F238E27FC236}">
                <a16:creationId xmlns:a16="http://schemas.microsoft.com/office/drawing/2014/main" id="{C7FC0CE7-84A2-4749-8FF7-D06771FD0744}"/>
              </a:ext>
            </a:extLst>
          </p:cNvPr>
          <p:cNvPicPr>
            <a:picLocks noChangeAspect="1"/>
          </p:cNvPicPr>
          <p:nvPr/>
        </p:nvPicPr>
        <p:blipFill>
          <a:blip r:embed="rId6"/>
          <a:stretch>
            <a:fillRect/>
          </a:stretch>
        </p:blipFill>
        <p:spPr>
          <a:xfrm>
            <a:off x="6146800" y="1135248"/>
            <a:ext cx="5748866" cy="1700369"/>
          </a:xfrm>
          <a:prstGeom prst="rect">
            <a:avLst/>
          </a:prstGeom>
        </p:spPr>
      </p:pic>
      <p:pic>
        <p:nvPicPr>
          <p:cNvPr id="12" name="Grafik 12" descr="Ein Bild, das Text, Antenne enthält.&#10;&#10;Beschreibung automatisch generiert.">
            <a:extLst>
              <a:ext uri="{FF2B5EF4-FFF2-40B4-BE49-F238E27FC236}">
                <a16:creationId xmlns:a16="http://schemas.microsoft.com/office/drawing/2014/main" id="{2A7A66CE-A81C-401B-8E1D-03A4FCD55148}"/>
              </a:ext>
            </a:extLst>
          </p:cNvPr>
          <p:cNvPicPr>
            <a:picLocks noChangeAspect="1"/>
          </p:cNvPicPr>
          <p:nvPr/>
        </p:nvPicPr>
        <p:blipFill>
          <a:blip r:embed="rId7"/>
          <a:stretch>
            <a:fillRect/>
          </a:stretch>
        </p:blipFill>
        <p:spPr>
          <a:xfrm>
            <a:off x="6146800" y="2913248"/>
            <a:ext cx="5748867" cy="1768102"/>
          </a:xfrm>
          <a:prstGeom prst="rect">
            <a:avLst/>
          </a:prstGeom>
        </p:spPr>
      </p:pic>
      <p:pic>
        <p:nvPicPr>
          <p:cNvPr id="13" name="Grafik 13">
            <a:extLst>
              <a:ext uri="{FF2B5EF4-FFF2-40B4-BE49-F238E27FC236}">
                <a16:creationId xmlns:a16="http://schemas.microsoft.com/office/drawing/2014/main" id="{BAECF3C6-66D7-47A6-8309-3093D78D8F51}"/>
              </a:ext>
            </a:extLst>
          </p:cNvPr>
          <p:cNvPicPr>
            <a:picLocks noChangeAspect="1"/>
          </p:cNvPicPr>
          <p:nvPr/>
        </p:nvPicPr>
        <p:blipFill>
          <a:blip r:embed="rId8"/>
          <a:stretch>
            <a:fillRect/>
          </a:stretch>
        </p:blipFill>
        <p:spPr>
          <a:xfrm>
            <a:off x="6087534" y="4682782"/>
            <a:ext cx="5808133" cy="1725768"/>
          </a:xfrm>
          <a:prstGeom prst="rect">
            <a:avLst/>
          </a:prstGeom>
        </p:spPr>
      </p:pic>
    </p:spTree>
    <p:extLst>
      <p:ext uri="{BB962C8B-B14F-4D97-AF65-F5344CB8AC3E}">
        <p14:creationId xmlns:p14="http://schemas.microsoft.com/office/powerpoint/2010/main" val="352357654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5060&quot;&gt;&lt;version val=&quot;2799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1.00000000000000000000E+00&quot;&gt;&lt;m_msothmcolidx val=&quot;0&quot;/&gt;&lt;m_rgb r=&quot;ED&quot; g=&quot;25&quot; b=&quot;2B&quot;/&gt;&lt;m_nBrightness endver=&quot;26206&quot; val=&quot;0&quot;/&gt;&lt;/elem&gt;&lt;elem m_fUsage=&quot;9.00000000000000022204E-01&quot;&gt;&lt;m_msothmcolidx val=&quot;0&quot;/&gt;&lt;m_rgb r=&quot;DE&quot; g=&quot;34&quot; b=&quot;34&quot;/&gt;&lt;m_nBrightness endver=&quot;26206&quot; val=&quot;0&quot;/&gt;&lt;/elem&gt;&lt;/m_vecMRU&gt;&lt;/m_mruColor&gt;&lt;m_eweekdayFirstOfWeek val=&quot;1&quot;/&gt;&lt;m_eweekdayFirstOfWorkweek val=&quot;2&quot;/&gt;&lt;m_eweekdayFirstOfWeekend val=&quot;7&quot;/&gt;&lt;/CPresentation&gt;&lt;/root&gt;"/>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Topics&quot; subtitle=&quot;&quot; sizingModeId=&quot;1&quot; fontSize=&quot;24&quot; fontSizeAuto=&quot;1&quot; startTime=&quot;540&quot; timeFormatId=&quot;1&quot; startItemNo=&quot;1&quot; createSingleAgendaSlide=&quot;1&quot; createSeparatingSlides=&quot;1&quot; createBackupSlide=&quot;1&quot; layoutId=&quot;227_1-4&quot; createSections=&quot;0&quot; singleSlideId=&quot;176c1bb5-f92d-4447-b00d-561bc430c574&quot; backupSlideId=&quot;03d766a9-5cbd-4899-99d2-541dd5951aba&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24.43423&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5457f087-b66f-40c1-960f-8293a1048a86&quot; parentId=&quot;&quot; level=&quot;1&quot; generateAgendaSlide=&quot;1&quot; showAgendaItem=&quot;1&quot; isBreak=&quot;0&quot; topic=&quot;Cognition is a scarce resource &quot; agendaSlideId=&quot;cac0a850-d1bb-401b-bc97-861929a82371&quot; /&gt;&lt;item duration=&quot;30&quot; id=&quot;e46be0e3-0bbc-4ca1-8425-6c13d5813c6a&quot; parentId=&quot;&quot; level=&quot;1&quot; generateAgendaSlide=&quot;1&quot; showAgendaItem=&quot;1&quot; isBreak=&quot;0&quot; topic=&quot;Understanding cognition&quot; agendaSlideId=&quot;4970e5c8-e13b-48b8-af4a-962eb6d96bf1&quot; /&gt;&lt;item duration=&quot;30&quot; id=&quot;2883a031-ed34-499f-a849-a5811c131db8&quot; parentId=&quot;&quot; level=&quot;1&quot; generateAgendaSlide=&quot;1&quot; showAgendaItem=&quot;1&quot; isBreak=&quot;0&quot; topic=&quot;Mindfulness practices cognitive capabilities &quot; agendaSlideId=&quot;668137a3-d050-440c-9074-f60e7c87a62d&quot; /&gt;&lt;item duration=&quot;30&quot; id=&quot;6d2cf71b-c3fc-4b30-8284-073b4a523747&quot; parentId=&quot;&quot; level=&quot;1&quot; generateAgendaSlide=&quot;1&quot; showAgendaItem=&quot;1&quot; isBreak=&quot;0&quot; topic=&quot;Integrating mindfulness into your BCG day&quot; agendaSlideId=&quot;42517926-80af-4bea-af16-8b39fd1408d9&quot; /&gt;&lt;item duration=&quot;30&quot; id=&quot;f46bd394-af69-4f39-b5e4-08800dab065d&quot; parentId=&quot;&quot; level=&quot;1&quot; generateAgendaSlide=&quot;1&quot; showAgendaItem=&quot;1&quot; isBreak=&quot;0&quot; topic=&quot;Appendix: Mindfulness@BCG suite&quot; agendaSlideId=&quot;b0926d57-b899-4122-84af-1c640e1fbb4c&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2SbP.mbWcCqZk71VbtysQ"/>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5F42A4A9CC6FFA45B2135D0450E985B3" ma:contentTypeVersion="8" ma:contentTypeDescription="Ein neues Dokument erstellen." ma:contentTypeScope="" ma:versionID="6e7c640187cedd614f5e8a0614fcac5a">
  <xsd:schema xmlns:xsd="http://www.w3.org/2001/XMLSchema" xmlns:xs="http://www.w3.org/2001/XMLSchema" xmlns:p="http://schemas.microsoft.com/office/2006/metadata/properties" xmlns:ns2="76331573-94c2-4a8c-ac73-98dd575390bf" targetNamespace="http://schemas.microsoft.com/office/2006/metadata/properties" ma:root="true" ma:fieldsID="446ad72d1b63c368abee4b2a05e9dbc1" ns2:_="">
    <xsd:import namespace="76331573-94c2-4a8c-ac73-98dd575390b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331573-94c2-4a8c-ac73-98dd575390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Length (seconds)" ma:internalName="MediaLengthInSeconds" ma:readOnly="true">
      <xsd:simpleType>
        <xsd:restriction base="dms:Unknown"/>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B7DBC11-A0C1-4EF7-9890-CD2DF145B5D3}">
  <ds:schemaRefs>
    <ds:schemaRef ds:uri="76331573-94c2-4a8c-ac73-98dd575390b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F02FA39-E8EC-42FA-A3A1-ABC74170BAAF}">
  <ds:schemaRefs>
    <ds:schemaRef ds:uri="http://schemas.microsoft.com/sharepoint/v3/contenttype/forms"/>
  </ds:schemaRefs>
</ds:datastoreItem>
</file>

<file path=customXml/itemProps3.xml><?xml version="1.0" encoding="utf-8"?>
<ds:datastoreItem xmlns:ds="http://schemas.openxmlformats.org/officeDocument/2006/customXml" ds:itemID="{A2748DAA-746D-4369-A4BE-C0B34B6593F2}">
  <ds:schemaRefs>
    <ds:schemaRef ds:uri="76331573-94c2-4a8c-ac73-98dd575390b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9</Slides>
  <Notes>23</Notes>
  <HiddenSlides>0</HiddenSlides>
  <ScaleCrop>false</ScaleCrop>
  <HeadingPairs>
    <vt:vector size="4" baseType="variant">
      <vt:variant>
        <vt:lpstr>Theme</vt:lpstr>
      </vt:variant>
      <vt:variant>
        <vt:i4>1</vt:i4>
      </vt:variant>
      <vt:variant>
        <vt:lpstr>Slide Titles</vt:lpstr>
      </vt:variant>
      <vt:variant>
        <vt:i4>29</vt:i4>
      </vt:variant>
    </vt:vector>
  </HeadingPairs>
  <TitlesOfParts>
    <vt:vector size="30" baseType="lpstr">
      <vt:lpstr>BCG Grid 16:9</vt:lpstr>
      <vt:lpstr>Sachen die noch erledigt werden müssen/Fragen</vt:lpstr>
      <vt:lpstr>Business Data Analytics </vt:lpstr>
      <vt:lpstr>0 Team</vt:lpstr>
      <vt:lpstr>Working Approach.</vt:lpstr>
      <vt:lpstr>1 Provided Data</vt:lpstr>
      <vt:lpstr>Officially Provided Documents.</vt:lpstr>
      <vt:lpstr>Contained Variables.</vt:lpstr>
      <vt:lpstr>First Visualization of Data.</vt:lpstr>
      <vt:lpstr>First Visualization of Data.</vt:lpstr>
      <vt:lpstr>2 Pre- processing </vt:lpstr>
      <vt:lpstr>Processing of Provided Data.</vt:lpstr>
      <vt:lpstr>Inclusion of External Data.</vt:lpstr>
      <vt:lpstr>Data Cleaning.</vt:lpstr>
      <vt:lpstr>Two-Track Approach.</vt:lpstr>
      <vt:lpstr>3  Model</vt:lpstr>
      <vt:lpstr>3.1  Linear Regression</vt:lpstr>
      <vt:lpstr>Linear Regression – Hourly (1).</vt:lpstr>
      <vt:lpstr>Linear Regression – Hourly (2).</vt:lpstr>
      <vt:lpstr>Linear Regression – Daily (1).</vt:lpstr>
      <vt:lpstr>Linear Regression - Daily (2).</vt:lpstr>
      <vt:lpstr>3.2  LSTM</vt:lpstr>
      <vt:lpstr>LSTM – Hourly.</vt:lpstr>
      <vt:lpstr>LSTM – Daily (1).</vt:lpstr>
      <vt:lpstr>LSTM – Evaluation.</vt:lpstr>
      <vt:lpstr>4 Prototype &amp; Outcome</vt:lpstr>
      <vt:lpstr>Live Demo.</vt:lpstr>
      <vt:lpstr> BUSINESS VALUE</vt:lpstr>
      <vt:lpstr>Alternative Ide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 Thinking: nameX – the cooking helper</dc:title>
  <dc:creator>uuehn</dc:creator>
  <cp:revision>1</cp:revision>
  <dcterms:created xsi:type="dcterms:W3CDTF">2020-11-17T07:20:37Z</dcterms:created>
  <dcterms:modified xsi:type="dcterms:W3CDTF">2021-07-22T21:2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42A4A9CC6FFA45B2135D0450E985B3</vt:lpwstr>
  </property>
</Properties>
</file>